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067" r:id="rId1"/>
  </p:sldMasterIdLst>
  <p:notesMasterIdLst>
    <p:notesMasterId r:id="rId25"/>
  </p:notesMasterIdLst>
  <p:handoutMasterIdLst>
    <p:handoutMasterId r:id="rId26"/>
  </p:handoutMasterIdLst>
  <p:sldIdLst>
    <p:sldId id="257" r:id="rId2"/>
    <p:sldId id="258" r:id="rId3"/>
    <p:sldId id="260" r:id="rId4"/>
    <p:sldId id="267" r:id="rId5"/>
    <p:sldId id="268" r:id="rId6"/>
    <p:sldId id="270" r:id="rId7"/>
    <p:sldId id="278" r:id="rId8"/>
    <p:sldId id="271" r:id="rId9"/>
    <p:sldId id="272" r:id="rId10"/>
    <p:sldId id="273" r:id="rId11"/>
    <p:sldId id="274" r:id="rId12"/>
    <p:sldId id="285" r:id="rId13"/>
    <p:sldId id="286" r:id="rId14"/>
    <p:sldId id="276" r:id="rId15"/>
    <p:sldId id="280" r:id="rId16"/>
    <p:sldId id="281" r:id="rId17"/>
    <p:sldId id="277" r:id="rId18"/>
    <p:sldId id="282" r:id="rId19"/>
    <p:sldId id="283" r:id="rId20"/>
    <p:sldId id="284" r:id="rId21"/>
    <p:sldId id="269" r:id="rId22"/>
    <p:sldId id="261" r:id="rId23"/>
    <p:sldId id="266" r:id="rId24"/>
  </p:sldIdLst>
  <p:sldSz cx="12192000" cy="6858000"/>
  <p:notesSz cx="6858000" cy="9144000"/>
  <p:custDataLst>
    <p:tags r:id="rId27"/>
  </p:custDataLst>
  <p:defaultTextStyle>
    <a:defPPr>
      <a:defRPr lang="de-DE"/>
    </a:defPPr>
    <a:lvl1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b="1" kern="1200">
        <a:solidFill>
          <a:schemeClr val="tx1"/>
        </a:solidFill>
        <a:latin typeface="+mj-lt"/>
        <a:ea typeface="+mn-ea"/>
        <a:cs typeface="+mn-cs"/>
      </a:defRPr>
    </a:lvl2pPr>
    <a:lvl3pPr marL="216000" indent="-216000" algn="l" defTabSz="914400" rtl="0" eaLnBrk="1" latinLnBrk="0" hangingPunct="1">
      <a:lnSpc>
        <a:spcPct val="100000"/>
      </a:lnSpc>
      <a:spcBef>
        <a:spcPts val="800"/>
      </a:spcBef>
      <a:buClr>
        <a:schemeClr val="bg2"/>
      </a:buClr>
      <a:buFont typeface="Wingdings" panose="05000000000000000000" pitchFamily="2" charset="2"/>
      <a:buChar char="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9FB5"/>
    <a:srgbClr val="C5DE89"/>
    <a:srgbClr val="97C139"/>
    <a:srgbClr val="BBD700"/>
    <a:srgbClr val="EDF4D7"/>
    <a:srgbClr val="A5A2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F574968-8E7B-4BD5-88D0-8983A55FECBE}">
  <a:tblStyle styleId="{FF574968-8E7B-4BD5-88D0-8983A55FECBE}" styleName="FAPS Grün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bg2"/>
              </a:solidFill>
            </a:ln>
          </a:top>
          <a:bottom>
            <a:ln w="12700" cmpd="sng">
              <a:solidFill>
                <a:schemeClr val="bg2"/>
              </a:solidFill>
            </a:ln>
          </a:bottom>
          <a:insideH>
            <a:ln w="12700" cmpd="sng">
              <a:solidFill>
                <a:schemeClr val="bg2"/>
              </a:solidFill>
            </a:ln>
          </a:insideH>
          <a:insideV>
            <a:ln w="12700" cmpd="sng">
              <a:solidFill>
                <a:schemeClr val="bg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firstRow>
  </a:tblStyle>
  <a:tblStyle styleId="{37BAE8A2-7202-4C22-9C2C-F347EB2FAA6F}" styleName="FAPS Blau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firstRow>
  </a:tblStyle>
  <a:tblStyle styleId="{EBB0CE9F-D716-4860-AF4F-F15B24E0B071}" styleName="FAPS Gelb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firstRow>
  </a:tblStyle>
  <a:tblStyle styleId="{26AB2577-4540-4206-9094-D35CD18BC8E0}" styleName="FAPS Orange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firstRow>
  </a:tblStyle>
  <a:tblStyle styleId="{722F7E24-ECD2-48BB-A2A0-780832591A68}" styleName="FAPS Red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rgbClr val="990033"/>
              </a:solidFill>
            </a:ln>
          </a:top>
          <a:bottom>
            <a:ln w="12700" cmpd="sng">
              <a:solidFill>
                <a:srgbClr val="990033"/>
              </a:solidFill>
            </a:ln>
          </a:bottom>
          <a:insideH>
            <a:ln w="12700" cmpd="sng">
              <a:solidFill>
                <a:srgbClr val="990033"/>
              </a:solidFill>
            </a:ln>
          </a:insideH>
          <a:insideV>
            <a:ln w="12700" cmpd="sng">
              <a:solidFill>
                <a:srgbClr val="990033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48" autoAdjust="0"/>
  </p:normalViewPr>
  <p:slideViewPr>
    <p:cSldViewPr showGuides="1">
      <p:cViewPr varScale="1">
        <p:scale>
          <a:sx n="78" d="100"/>
          <a:sy n="78" d="100"/>
        </p:scale>
        <p:origin x="878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howGuides="1">
      <p:cViewPr varScale="1">
        <p:scale>
          <a:sx n="97" d="100"/>
          <a:sy n="97" d="100"/>
        </p:scale>
        <p:origin x="2682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Preliminary Trials - Success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C95-470F-9BF0-0BFA151C1D3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C95-470F-9BF0-0BFA151C1D3C}"/>
              </c:ext>
            </c:extLst>
          </c:dPt>
          <c:cat>
            <c:strRef>
              <c:f>Tabelle1!$E$2:$G$2</c:f>
              <c:strCache>
                <c:ptCount val="3"/>
                <c:pt idx="0">
                  <c:v>Stator A</c:v>
                </c:pt>
                <c:pt idx="1">
                  <c:v>Stator B</c:v>
                </c:pt>
                <c:pt idx="2">
                  <c:v>Stator C (N/A)</c:v>
                </c:pt>
              </c:strCache>
            </c:strRef>
          </c:cat>
          <c:val>
            <c:numRef>
              <c:f>Tabelle1!$E$3:$G$3</c:f>
              <c:numCache>
                <c:formatCode>0%</c:formatCode>
                <c:ptCount val="3"/>
                <c:pt idx="0">
                  <c:v>0.8</c:v>
                </c:pt>
                <c:pt idx="1">
                  <c:v>0.7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95-470F-9BF0-0BFA151C1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479105520"/>
        <c:axId val="479106768"/>
      </c:barChart>
      <c:catAx>
        <c:axId val="479105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79106768"/>
        <c:crosses val="autoZero"/>
        <c:auto val="1"/>
        <c:lblAlgn val="ctr"/>
        <c:lblOffset val="100"/>
        <c:noMultiLvlLbl val="0"/>
      </c:catAx>
      <c:valAx>
        <c:axId val="479106768"/>
        <c:scaling>
          <c:orientation val="minMax"/>
          <c:max val="1"/>
          <c:min val="0.60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79105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Optimized Trials - Success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34C-4FF7-9A18-5CF6B5123D4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34C-4FF7-9A18-5CF6B5123D4B}"/>
              </c:ext>
            </c:extLst>
          </c:dPt>
          <c:cat>
            <c:strRef>
              <c:f>Tabelle1!$A$2:$C$2</c:f>
              <c:strCache>
                <c:ptCount val="3"/>
                <c:pt idx="0">
                  <c:v>Stator A</c:v>
                </c:pt>
                <c:pt idx="1">
                  <c:v>Stator B</c:v>
                </c:pt>
                <c:pt idx="2">
                  <c:v>Stator C</c:v>
                </c:pt>
              </c:strCache>
            </c:strRef>
          </c:cat>
          <c:val>
            <c:numRef>
              <c:f>Tabelle1!$A$3:$C$3</c:f>
              <c:numCache>
                <c:formatCode>0%</c:formatCode>
                <c:ptCount val="3"/>
                <c:pt idx="0">
                  <c:v>0.97</c:v>
                </c:pt>
                <c:pt idx="1">
                  <c:v>0.97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34C-4FF7-9A18-5CF6B5123D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887740496"/>
        <c:axId val="887740912"/>
      </c:barChart>
      <c:catAx>
        <c:axId val="88774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87740912"/>
        <c:crosses val="autoZero"/>
        <c:auto val="1"/>
        <c:lblAlgn val="ctr"/>
        <c:lblOffset val="100"/>
        <c:noMultiLvlLbl val="0"/>
      </c:catAx>
      <c:valAx>
        <c:axId val="887740912"/>
        <c:scaling>
          <c:orientation val="minMax"/>
          <c:max val="1"/>
          <c:min val="0.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87740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Stator A - Preliminary Trials</a:t>
            </a:r>
          </a:p>
        </c:rich>
      </c:tx>
      <c:layout>
        <c:manualLayout>
          <c:xMode val="edge"/>
          <c:yMode val="edge"/>
          <c:x val="0.24923962186600904"/>
          <c:y val="1.37315482320631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chemeClr val="accent1">
                <a:lumMod val="50000"/>
              </a:schemeClr>
            </a:solidFill>
          </c:spPr>
          <c:dPt>
            <c:idx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F73-41AF-AA70-923C468D36EB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F73-41AF-AA70-923C468D36E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J$2:$K$2</c:f>
              <c:strCache>
                <c:ptCount val="2"/>
                <c:pt idx="0">
                  <c:v>Slot liner pulled back with the funnel</c:v>
                </c:pt>
                <c:pt idx="1">
                  <c:v>Slot liner misplacement</c:v>
                </c:pt>
              </c:strCache>
            </c:strRef>
          </c:cat>
          <c:val>
            <c:numRef>
              <c:f>Tabelle1!$J$3:$K$3</c:f>
              <c:numCache>
                <c:formatCode>0%</c:formatCode>
                <c:ptCount val="2"/>
                <c:pt idx="0">
                  <c:v>0.75</c:v>
                </c:pt>
                <c:pt idx="1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F73-41AF-AA70-923C468D36EB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12836296202802"/>
          <c:y val="0.30760127692586314"/>
          <c:w val="0.36250279134343721"/>
          <c:h val="0.5303859159726558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Stator B - Preliminary</a:t>
            </a:r>
            <a:r>
              <a:rPr lang="de-DE" sz="1000" baseline="0"/>
              <a:t> Trials</a:t>
            </a:r>
            <a:endParaRPr lang="de-DE" sz="10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870-49EC-B942-1B9CE976F693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870-49EC-B942-1B9CE976F69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N$2:$O$2</c:f>
              <c:strCache>
                <c:ptCount val="2"/>
                <c:pt idx="0">
                  <c:v>Poor Slot liner profile</c:v>
                </c:pt>
                <c:pt idx="1">
                  <c:v>Funnel Misalignment</c:v>
                </c:pt>
              </c:strCache>
            </c:strRef>
          </c:cat>
          <c:val>
            <c:numRef>
              <c:f>Tabelle1!$N$3:$O$3</c:f>
              <c:numCache>
                <c:formatCode>0%</c:formatCode>
                <c:ptCount val="2"/>
                <c:pt idx="0">
                  <c:v>0.9</c:v>
                </c:pt>
                <c:pt idx="1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870-49EC-B942-1B9CE976F69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1A22D39-F462-4068-B861-01B6257425B8}" type="doc">
      <dgm:prSet loTypeId="urn:microsoft.com/office/officeart/2005/8/layout/radial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763A056A-33C0-4984-BA06-4E5BE1ADC77F}">
      <dgm:prSet phldrT="[Text]" phldr="0" custT="1"/>
      <dgm:spPr/>
      <dgm:t>
        <a:bodyPr/>
        <a:lstStyle/>
        <a:p>
          <a:r>
            <a:rPr lang="en-US" sz="2800" b="1" dirty="0"/>
            <a:t>Automated Slot-Liner Insertion</a:t>
          </a:r>
          <a:endParaRPr lang="en-IN" sz="2800" b="1" dirty="0"/>
        </a:p>
      </dgm:t>
    </dgm:pt>
    <dgm:pt modelId="{3E369DEA-F604-4F9C-9753-310240E7EDF0}" type="parTrans" cxnId="{FDD7FB36-83B1-4461-966B-D68F9A31FFC5}">
      <dgm:prSet/>
      <dgm:spPr/>
      <dgm:t>
        <a:bodyPr/>
        <a:lstStyle/>
        <a:p>
          <a:endParaRPr lang="en-IN"/>
        </a:p>
      </dgm:t>
    </dgm:pt>
    <dgm:pt modelId="{80C4A4AB-D725-4091-A8B3-7F6877E57A6C}" type="sibTrans" cxnId="{FDD7FB36-83B1-4461-966B-D68F9A31FFC5}">
      <dgm:prSet/>
      <dgm:spPr/>
      <dgm:t>
        <a:bodyPr/>
        <a:lstStyle/>
        <a:p>
          <a:endParaRPr lang="en-IN"/>
        </a:p>
      </dgm:t>
    </dgm:pt>
    <dgm:pt modelId="{286A6859-7812-4360-B6AF-472CE6B25D3F}">
      <dgm:prSet phldrT="[Text]" phldr="0"/>
      <dgm:spPr/>
      <dgm:t>
        <a:bodyPr/>
        <a:lstStyle/>
        <a:p>
          <a:r>
            <a:rPr lang="en-US" dirty="0"/>
            <a:t>Parametric Tool Design</a:t>
          </a:r>
          <a:endParaRPr lang="en-IN" dirty="0"/>
        </a:p>
      </dgm:t>
    </dgm:pt>
    <dgm:pt modelId="{AF0DAE41-7BA9-404F-BC29-F90A1C7E6B12}" type="parTrans" cxnId="{648817DB-61D0-4CE6-BBBB-00BA6E8A729F}">
      <dgm:prSet/>
      <dgm:spPr/>
      <dgm:t>
        <a:bodyPr/>
        <a:lstStyle/>
        <a:p>
          <a:endParaRPr lang="en-IN"/>
        </a:p>
      </dgm:t>
    </dgm:pt>
    <dgm:pt modelId="{32B6B453-7E74-4B44-BF65-0071E5C29F08}" type="sibTrans" cxnId="{648817DB-61D0-4CE6-BBBB-00BA6E8A729F}">
      <dgm:prSet/>
      <dgm:spPr/>
      <dgm:t>
        <a:bodyPr/>
        <a:lstStyle/>
        <a:p>
          <a:endParaRPr lang="en-IN"/>
        </a:p>
      </dgm:t>
    </dgm:pt>
    <dgm:pt modelId="{78094CA2-9E2A-4791-B7C6-DE65C0BBC07D}">
      <dgm:prSet phldrT="[Text]" phldr="0"/>
      <dgm:spPr/>
      <dgm:t>
        <a:bodyPr/>
        <a:lstStyle/>
        <a:p>
          <a:r>
            <a:rPr lang="en-US" dirty="0"/>
            <a:t>Flexible manufacturing</a:t>
          </a:r>
          <a:endParaRPr lang="en-IN" dirty="0"/>
        </a:p>
      </dgm:t>
    </dgm:pt>
    <dgm:pt modelId="{1FB38DC5-0699-41EF-A699-3043B04E6DA6}" type="parTrans" cxnId="{4A25B096-CA7F-4640-88D2-D0B0009317D1}">
      <dgm:prSet/>
      <dgm:spPr/>
      <dgm:t>
        <a:bodyPr/>
        <a:lstStyle/>
        <a:p>
          <a:endParaRPr lang="en-IN"/>
        </a:p>
      </dgm:t>
    </dgm:pt>
    <dgm:pt modelId="{23E9F1DF-46C8-4DD1-927E-BA3CAB9DFF3F}" type="sibTrans" cxnId="{4A25B096-CA7F-4640-88D2-D0B0009317D1}">
      <dgm:prSet/>
      <dgm:spPr/>
      <dgm:t>
        <a:bodyPr/>
        <a:lstStyle/>
        <a:p>
          <a:endParaRPr lang="en-IN"/>
        </a:p>
      </dgm:t>
    </dgm:pt>
    <dgm:pt modelId="{6DDA87FE-1FDF-4DC0-B998-E1CC6064C9DA}">
      <dgm:prSet phldrT="[Text]" phldr="0"/>
      <dgm:spPr/>
      <dgm:t>
        <a:bodyPr/>
        <a:lstStyle/>
        <a:p>
          <a:r>
            <a:rPr lang="en-US" dirty="0"/>
            <a:t>Robotic Integration and validation</a:t>
          </a:r>
          <a:endParaRPr lang="en-IN" dirty="0"/>
        </a:p>
      </dgm:t>
    </dgm:pt>
    <dgm:pt modelId="{D96E8770-D9BC-4E19-A3ED-E2FADDA683E4}" type="parTrans" cxnId="{3DC2E75E-F0C8-4B6C-823D-2B3A9BF974A2}">
      <dgm:prSet/>
      <dgm:spPr/>
      <dgm:t>
        <a:bodyPr/>
        <a:lstStyle/>
        <a:p>
          <a:endParaRPr lang="en-IN"/>
        </a:p>
      </dgm:t>
    </dgm:pt>
    <dgm:pt modelId="{FA039F59-04D4-4B06-B2CA-68B321CE8A12}" type="sibTrans" cxnId="{3DC2E75E-F0C8-4B6C-823D-2B3A9BF974A2}">
      <dgm:prSet/>
      <dgm:spPr/>
      <dgm:t>
        <a:bodyPr/>
        <a:lstStyle/>
        <a:p>
          <a:endParaRPr lang="en-IN"/>
        </a:p>
      </dgm:t>
    </dgm:pt>
    <dgm:pt modelId="{B150F68D-C8EB-4BB0-8A67-AED9551A6623}">
      <dgm:prSet phldrT="[Text]" phldr="0"/>
      <dgm:spPr/>
      <dgm:t>
        <a:bodyPr/>
        <a:lstStyle/>
        <a:p>
          <a:r>
            <a:rPr lang="en-US" dirty="0"/>
            <a:t>Process reliability and repeatability</a:t>
          </a:r>
          <a:endParaRPr lang="en-IN" dirty="0"/>
        </a:p>
      </dgm:t>
    </dgm:pt>
    <dgm:pt modelId="{E9E9019F-87A2-4053-826C-1B7B63F5EB41}" type="parTrans" cxnId="{7FD98621-4A0A-49DD-A78D-7BFE308BEBCF}">
      <dgm:prSet/>
      <dgm:spPr/>
      <dgm:t>
        <a:bodyPr/>
        <a:lstStyle/>
        <a:p>
          <a:endParaRPr lang="en-IN"/>
        </a:p>
      </dgm:t>
    </dgm:pt>
    <dgm:pt modelId="{91EC25F7-9CE7-4FA8-BBA6-7EBC064008AF}" type="sibTrans" cxnId="{7FD98621-4A0A-49DD-A78D-7BFE308BEBCF}">
      <dgm:prSet/>
      <dgm:spPr/>
      <dgm:t>
        <a:bodyPr/>
        <a:lstStyle/>
        <a:p>
          <a:endParaRPr lang="en-IN"/>
        </a:p>
      </dgm:t>
    </dgm:pt>
    <dgm:pt modelId="{B0A14C04-AA62-4C27-8763-97C71501C123}" type="pres">
      <dgm:prSet presAssocID="{31A22D39-F462-4068-B861-01B6257425B8}" presName="composite" presStyleCnt="0">
        <dgm:presLayoutVars>
          <dgm:chMax val="1"/>
          <dgm:dir/>
          <dgm:resizeHandles val="exact"/>
        </dgm:presLayoutVars>
      </dgm:prSet>
      <dgm:spPr/>
    </dgm:pt>
    <dgm:pt modelId="{3F866203-7683-4107-AFC2-C08C577420A9}" type="pres">
      <dgm:prSet presAssocID="{31A22D39-F462-4068-B861-01B6257425B8}" presName="radial" presStyleCnt="0">
        <dgm:presLayoutVars>
          <dgm:animLvl val="ctr"/>
        </dgm:presLayoutVars>
      </dgm:prSet>
      <dgm:spPr/>
    </dgm:pt>
    <dgm:pt modelId="{1229E7B4-F364-43E8-9FCF-274B707E9EE5}" type="pres">
      <dgm:prSet presAssocID="{763A056A-33C0-4984-BA06-4E5BE1ADC77F}" presName="centerShape" presStyleLbl="vennNode1" presStyleIdx="0" presStyleCnt="5"/>
      <dgm:spPr/>
    </dgm:pt>
    <dgm:pt modelId="{DF569203-225D-41C6-9ADC-117A1D445561}" type="pres">
      <dgm:prSet presAssocID="{286A6859-7812-4360-B6AF-472CE6B25D3F}" presName="node" presStyleLbl="vennNode1" presStyleIdx="1" presStyleCnt="5" custScaleX="114996">
        <dgm:presLayoutVars>
          <dgm:bulletEnabled val="1"/>
        </dgm:presLayoutVars>
      </dgm:prSet>
      <dgm:spPr/>
    </dgm:pt>
    <dgm:pt modelId="{561E3BC0-613D-489F-AB7D-934D7A076CE5}" type="pres">
      <dgm:prSet presAssocID="{78094CA2-9E2A-4791-B7C6-DE65C0BBC07D}" presName="node" presStyleLbl="vennNode1" presStyleIdx="2" presStyleCnt="5" custScaleY="113218">
        <dgm:presLayoutVars>
          <dgm:bulletEnabled val="1"/>
        </dgm:presLayoutVars>
      </dgm:prSet>
      <dgm:spPr/>
    </dgm:pt>
    <dgm:pt modelId="{A5E95CE9-59A7-469E-BE8D-66FBE8A9F2CF}" type="pres">
      <dgm:prSet presAssocID="{6DDA87FE-1FDF-4DC0-B998-E1CC6064C9DA}" presName="node" presStyleLbl="vennNode1" presStyleIdx="3" presStyleCnt="5">
        <dgm:presLayoutVars>
          <dgm:bulletEnabled val="1"/>
        </dgm:presLayoutVars>
      </dgm:prSet>
      <dgm:spPr/>
    </dgm:pt>
    <dgm:pt modelId="{CFF02477-03F9-4BB6-89A2-5EAFD8650598}" type="pres">
      <dgm:prSet presAssocID="{B150F68D-C8EB-4BB0-8A67-AED9551A6623}" presName="node" presStyleLbl="vennNode1" presStyleIdx="4" presStyleCnt="5">
        <dgm:presLayoutVars>
          <dgm:bulletEnabled val="1"/>
        </dgm:presLayoutVars>
      </dgm:prSet>
      <dgm:spPr/>
    </dgm:pt>
  </dgm:ptLst>
  <dgm:cxnLst>
    <dgm:cxn modelId="{A302E51D-33FE-47C3-A904-8D3EEF57B868}" type="presOf" srcId="{286A6859-7812-4360-B6AF-472CE6B25D3F}" destId="{DF569203-225D-41C6-9ADC-117A1D445561}" srcOrd="0" destOrd="0" presId="urn:microsoft.com/office/officeart/2005/8/layout/radial3"/>
    <dgm:cxn modelId="{7FD98621-4A0A-49DD-A78D-7BFE308BEBCF}" srcId="{763A056A-33C0-4984-BA06-4E5BE1ADC77F}" destId="{B150F68D-C8EB-4BB0-8A67-AED9551A6623}" srcOrd="3" destOrd="0" parTransId="{E9E9019F-87A2-4053-826C-1B7B63F5EB41}" sibTransId="{91EC25F7-9CE7-4FA8-BBA6-7EBC064008AF}"/>
    <dgm:cxn modelId="{FDD7FB36-83B1-4461-966B-D68F9A31FFC5}" srcId="{31A22D39-F462-4068-B861-01B6257425B8}" destId="{763A056A-33C0-4984-BA06-4E5BE1ADC77F}" srcOrd="0" destOrd="0" parTransId="{3E369DEA-F604-4F9C-9753-310240E7EDF0}" sibTransId="{80C4A4AB-D725-4091-A8B3-7F6877E57A6C}"/>
    <dgm:cxn modelId="{014E343E-33DE-40CF-A3E8-075567B2DEB0}" type="presOf" srcId="{31A22D39-F462-4068-B861-01B6257425B8}" destId="{B0A14C04-AA62-4C27-8763-97C71501C123}" srcOrd="0" destOrd="0" presId="urn:microsoft.com/office/officeart/2005/8/layout/radial3"/>
    <dgm:cxn modelId="{3DC2E75E-F0C8-4B6C-823D-2B3A9BF974A2}" srcId="{763A056A-33C0-4984-BA06-4E5BE1ADC77F}" destId="{6DDA87FE-1FDF-4DC0-B998-E1CC6064C9DA}" srcOrd="2" destOrd="0" parTransId="{D96E8770-D9BC-4E19-A3ED-E2FADDA683E4}" sibTransId="{FA039F59-04D4-4B06-B2CA-68B321CE8A12}"/>
    <dgm:cxn modelId="{2C8E078D-CEE4-42A0-85AD-C2540DEB6EFB}" type="presOf" srcId="{78094CA2-9E2A-4791-B7C6-DE65C0BBC07D}" destId="{561E3BC0-613D-489F-AB7D-934D7A076CE5}" srcOrd="0" destOrd="0" presId="urn:microsoft.com/office/officeart/2005/8/layout/radial3"/>
    <dgm:cxn modelId="{4A25B096-CA7F-4640-88D2-D0B0009317D1}" srcId="{763A056A-33C0-4984-BA06-4E5BE1ADC77F}" destId="{78094CA2-9E2A-4791-B7C6-DE65C0BBC07D}" srcOrd="1" destOrd="0" parTransId="{1FB38DC5-0699-41EF-A699-3043B04E6DA6}" sibTransId="{23E9F1DF-46C8-4DD1-927E-BA3CAB9DFF3F}"/>
    <dgm:cxn modelId="{9275D1AD-57EB-4C68-A43E-35BBD68404FD}" type="presOf" srcId="{B150F68D-C8EB-4BB0-8A67-AED9551A6623}" destId="{CFF02477-03F9-4BB6-89A2-5EAFD8650598}" srcOrd="0" destOrd="0" presId="urn:microsoft.com/office/officeart/2005/8/layout/radial3"/>
    <dgm:cxn modelId="{94C32DB6-7E4F-4D1B-9DAE-27E6435171F8}" type="presOf" srcId="{6DDA87FE-1FDF-4DC0-B998-E1CC6064C9DA}" destId="{A5E95CE9-59A7-469E-BE8D-66FBE8A9F2CF}" srcOrd="0" destOrd="0" presId="urn:microsoft.com/office/officeart/2005/8/layout/radial3"/>
    <dgm:cxn modelId="{648817DB-61D0-4CE6-BBBB-00BA6E8A729F}" srcId="{763A056A-33C0-4984-BA06-4E5BE1ADC77F}" destId="{286A6859-7812-4360-B6AF-472CE6B25D3F}" srcOrd="0" destOrd="0" parTransId="{AF0DAE41-7BA9-404F-BC29-F90A1C7E6B12}" sibTransId="{32B6B453-7E74-4B44-BF65-0071E5C29F08}"/>
    <dgm:cxn modelId="{E9C929E8-A661-4481-8685-941D87A95635}" type="presOf" srcId="{763A056A-33C0-4984-BA06-4E5BE1ADC77F}" destId="{1229E7B4-F364-43E8-9FCF-274B707E9EE5}" srcOrd="0" destOrd="0" presId="urn:microsoft.com/office/officeart/2005/8/layout/radial3"/>
    <dgm:cxn modelId="{2A61E811-5610-4414-8CCB-BD4BE510CE48}" type="presParOf" srcId="{B0A14C04-AA62-4C27-8763-97C71501C123}" destId="{3F866203-7683-4107-AFC2-C08C577420A9}" srcOrd="0" destOrd="0" presId="urn:microsoft.com/office/officeart/2005/8/layout/radial3"/>
    <dgm:cxn modelId="{D10663FE-E5F1-4D0C-9673-811511EB256F}" type="presParOf" srcId="{3F866203-7683-4107-AFC2-C08C577420A9}" destId="{1229E7B4-F364-43E8-9FCF-274B707E9EE5}" srcOrd="0" destOrd="0" presId="urn:microsoft.com/office/officeart/2005/8/layout/radial3"/>
    <dgm:cxn modelId="{02B237E0-E32E-4F08-A9AA-8927A361E538}" type="presParOf" srcId="{3F866203-7683-4107-AFC2-C08C577420A9}" destId="{DF569203-225D-41C6-9ADC-117A1D445561}" srcOrd="1" destOrd="0" presId="urn:microsoft.com/office/officeart/2005/8/layout/radial3"/>
    <dgm:cxn modelId="{4830EC0D-A6FE-4CD5-A8D2-DA5FE861DE8B}" type="presParOf" srcId="{3F866203-7683-4107-AFC2-C08C577420A9}" destId="{561E3BC0-613D-489F-AB7D-934D7A076CE5}" srcOrd="2" destOrd="0" presId="urn:microsoft.com/office/officeart/2005/8/layout/radial3"/>
    <dgm:cxn modelId="{9813DAE5-296E-49D6-B503-ED18C772298C}" type="presParOf" srcId="{3F866203-7683-4107-AFC2-C08C577420A9}" destId="{A5E95CE9-59A7-469E-BE8D-66FBE8A9F2CF}" srcOrd="3" destOrd="0" presId="urn:microsoft.com/office/officeart/2005/8/layout/radial3"/>
    <dgm:cxn modelId="{62F1E0CD-5C4D-4FF1-938F-EF9C5CBE051B}" type="presParOf" srcId="{3F866203-7683-4107-AFC2-C08C577420A9}" destId="{CFF02477-03F9-4BB6-89A2-5EAFD8650598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29E7B4-F364-43E8-9FCF-274B707E9EE5}">
      <dsp:nvSpPr>
        <dsp:cNvPr id="0" name=""/>
        <dsp:cNvSpPr/>
      </dsp:nvSpPr>
      <dsp:spPr>
        <a:xfrm>
          <a:off x="2605980" y="1244571"/>
          <a:ext cx="3100510" cy="310051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/>
            <a:t>Automated Slot-Liner Insertion</a:t>
          </a:r>
          <a:endParaRPr lang="en-IN" sz="2800" b="1" kern="1200" dirty="0"/>
        </a:p>
      </dsp:txBody>
      <dsp:txXfrm>
        <a:off x="3060039" y="1698630"/>
        <a:ext cx="2192392" cy="2192392"/>
      </dsp:txXfrm>
    </dsp:sp>
    <dsp:sp modelId="{DF569203-225D-41C6-9ADC-117A1D445561}">
      <dsp:nvSpPr>
        <dsp:cNvPr id="0" name=""/>
        <dsp:cNvSpPr/>
      </dsp:nvSpPr>
      <dsp:spPr>
        <a:xfrm>
          <a:off x="3264870" y="553"/>
          <a:ext cx="1782731" cy="15502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Parametric Tool Design</a:t>
          </a:r>
          <a:endParaRPr lang="en-IN" sz="1300" kern="1200" dirty="0"/>
        </a:p>
      </dsp:txBody>
      <dsp:txXfrm>
        <a:off x="3525945" y="227583"/>
        <a:ext cx="1260581" cy="1096195"/>
      </dsp:txXfrm>
    </dsp:sp>
    <dsp:sp modelId="{561E3BC0-613D-489F-AB7D-934D7A076CE5}">
      <dsp:nvSpPr>
        <dsp:cNvPr id="0" name=""/>
        <dsp:cNvSpPr/>
      </dsp:nvSpPr>
      <dsp:spPr>
        <a:xfrm>
          <a:off x="5400253" y="1917242"/>
          <a:ext cx="1550255" cy="175516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Flexible manufacturing</a:t>
          </a:r>
          <a:endParaRPr lang="en-IN" sz="1300" kern="1200" dirty="0"/>
        </a:p>
      </dsp:txBody>
      <dsp:txXfrm>
        <a:off x="5627283" y="2174280"/>
        <a:ext cx="1096195" cy="1241092"/>
      </dsp:txXfrm>
    </dsp:sp>
    <dsp:sp modelId="{A5E95CE9-59A7-469E-BE8D-66FBE8A9F2CF}">
      <dsp:nvSpPr>
        <dsp:cNvPr id="0" name=""/>
        <dsp:cNvSpPr/>
      </dsp:nvSpPr>
      <dsp:spPr>
        <a:xfrm>
          <a:off x="3381108" y="4038844"/>
          <a:ext cx="1550255" cy="15502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Robotic Integration and validation</a:t>
          </a:r>
          <a:endParaRPr lang="en-IN" sz="1300" kern="1200" dirty="0"/>
        </a:p>
      </dsp:txBody>
      <dsp:txXfrm>
        <a:off x="3608138" y="4265874"/>
        <a:ext cx="1096195" cy="1096195"/>
      </dsp:txXfrm>
    </dsp:sp>
    <dsp:sp modelId="{CFF02477-03F9-4BB6-89A2-5EAFD8650598}">
      <dsp:nvSpPr>
        <dsp:cNvPr id="0" name=""/>
        <dsp:cNvSpPr/>
      </dsp:nvSpPr>
      <dsp:spPr>
        <a:xfrm>
          <a:off x="1361962" y="2019698"/>
          <a:ext cx="1550255" cy="15502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Process reliability and repeatability</a:t>
          </a:r>
          <a:endParaRPr lang="en-IN" sz="1300" kern="1200" dirty="0"/>
        </a:p>
      </dsp:txBody>
      <dsp:txXfrm>
        <a:off x="1588992" y="2246728"/>
        <a:ext cx="1096195" cy="109619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767376-0B33-4217-AE56-56D9643C06F1}" type="datetimeFigureOut">
              <a:rPr lang="de-DE" smtClean="0"/>
              <a:t>06.10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64EA86-25C6-4F86-9E26-3EA69B71F19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A59FC5-228A-47D0-AD07-EE122BAE1BE9}" type="datetimeFigureOut">
              <a:rPr lang="de-DE" smtClean="0"/>
              <a:t>06.10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1C4DF-6CA6-480F-9C53-A2D3867D0D7B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9565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8639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de-DE" dirty="0"/>
              <a:t>Präsentationstitel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Präsentation: Präsentationsanlass, Kunde, Kooperationspartner, Vorlesung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423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1" pos="3114">
          <p15:clr>
            <a:srgbClr val="A4A3A4"/>
          </p15:clr>
        </p15:guide>
        <p15:guide id="32" orient="horz" pos="2704">
          <p15:clr>
            <a:srgbClr val="A4A3A4"/>
          </p15:clr>
        </p15:guide>
        <p15:guide id="33" orient="horz" pos="3407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7" name="Danke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8614283" y="4811018"/>
            <a:ext cx="2737929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6000" b="1" cap="all" baseline="0" dirty="0"/>
              <a:t>Danke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  <p:sp>
        <p:nvSpPr>
          <p:cNvPr id="26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44C02938-741B-4940-95E2-6D6629FDCC91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7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552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839788" y="333375"/>
            <a:ext cx="10303200" cy="5032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172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7" orient="horz" pos="527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 userDrawn="1">
          <p15:clr>
            <a:srgbClr val="5ACBF0"/>
          </p15:clr>
        </p15:guide>
        <p15:guide id="13" pos="2048" userDrawn="1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 userDrawn="1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weis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Textfeld 198"/>
          <p:cNvSpPr txBox="1"/>
          <p:nvPr userDrawn="1"/>
        </p:nvSpPr>
        <p:spPr>
          <a:xfrm>
            <a:off x="839788" y="333375"/>
            <a:ext cx="10303625" cy="5032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de-DE" sz="1800" b="1" dirty="0">
                <a:latin typeface="+mj-lt"/>
              </a:rPr>
              <a:t>Die Einhaltung der PowerPoint-Anweisungen ermöglicht die Erstellung qualitativ </a:t>
            </a:r>
            <a:br>
              <a:rPr lang="de-DE" sz="1800" b="1" dirty="0">
                <a:latin typeface="+mj-lt"/>
              </a:rPr>
            </a:br>
            <a:r>
              <a:rPr lang="de-DE" sz="1800" b="1" dirty="0">
                <a:latin typeface="+mj-lt"/>
              </a:rPr>
              <a:t>hochwertiger Folien, um Forschungsergebnisse angemessen repräsentieren zu können.</a:t>
            </a:r>
          </a:p>
        </p:txBody>
      </p:sp>
      <p:sp>
        <p:nvSpPr>
          <p:cNvPr id="102" name="Rechteck 101"/>
          <p:cNvSpPr/>
          <p:nvPr userDrawn="1"/>
        </p:nvSpPr>
        <p:spPr>
          <a:xfrm>
            <a:off x="11143413" y="0"/>
            <a:ext cx="1048586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18000" rIns="1800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Textfeld 28"/>
          <p:cNvSpPr txBox="1"/>
          <p:nvPr userDrawn="1"/>
        </p:nvSpPr>
        <p:spPr>
          <a:xfrm>
            <a:off x="-432048" y="3795891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0" name="Textfeld 29"/>
          <p:cNvSpPr txBox="1"/>
          <p:nvPr userDrawn="1"/>
        </p:nvSpPr>
        <p:spPr>
          <a:xfrm>
            <a:off x="-436123" y="3493909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1" name="Textfeld 30"/>
          <p:cNvSpPr txBox="1"/>
          <p:nvPr userDrawn="1"/>
        </p:nvSpPr>
        <p:spPr>
          <a:xfrm>
            <a:off x="-432048" y="617676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-432048" y="200697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9,6</a:t>
            </a:r>
          </a:p>
        </p:txBody>
      </p:sp>
      <p:sp>
        <p:nvSpPr>
          <p:cNvPr id="33" name="Textfeld 32"/>
          <p:cNvSpPr txBox="1"/>
          <p:nvPr userDrawn="1"/>
        </p:nvSpPr>
        <p:spPr>
          <a:xfrm>
            <a:off x="-432048" y="7046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8,2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-432048" y="11364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5" name="Textfeld 34"/>
          <p:cNvSpPr txBox="1"/>
          <p:nvPr userDrawn="1"/>
        </p:nvSpPr>
        <p:spPr>
          <a:xfrm>
            <a:off x="578385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611921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7" name="Textfeld 36"/>
          <p:cNvSpPr txBox="1"/>
          <p:nvPr userDrawn="1"/>
        </p:nvSpPr>
        <p:spPr>
          <a:xfrm>
            <a:off x="5928320" y="-670643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38" name="Textfeld 37"/>
          <p:cNvSpPr txBox="1"/>
          <p:nvPr userDrawn="1"/>
        </p:nvSpPr>
        <p:spPr>
          <a:xfrm>
            <a:off x="636084" y="-358463"/>
            <a:ext cx="45534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39" name="Textfeld 38"/>
          <p:cNvSpPr txBox="1"/>
          <p:nvPr userDrawn="1"/>
        </p:nvSpPr>
        <p:spPr>
          <a:xfrm>
            <a:off x="11098502" y="-358463"/>
            <a:ext cx="50741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2866093" y="-414229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9</a:t>
            </a:r>
          </a:p>
        </p:txBody>
      </p:sp>
      <p:sp>
        <p:nvSpPr>
          <p:cNvPr id="53" name="Textfeld 52"/>
          <p:cNvSpPr txBox="1"/>
          <p:nvPr userDrawn="1"/>
        </p:nvSpPr>
        <p:spPr>
          <a:xfrm>
            <a:off x="8262018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1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354012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1</a:t>
            </a:r>
          </a:p>
        </p:txBody>
      </p:sp>
      <p:sp>
        <p:nvSpPr>
          <p:cNvPr id="55" name="Textfeld 54"/>
          <p:cNvSpPr txBox="1"/>
          <p:nvPr userDrawn="1"/>
        </p:nvSpPr>
        <p:spPr>
          <a:xfrm>
            <a:off x="4440238" y="-416250"/>
            <a:ext cx="389433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4,6</a:t>
            </a:r>
          </a:p>
        </p:txBody>
      </p:sp>
      <p:sp>
        <p:nvSpPr>
          <p:cNvPr id="56" name="Textfeld 55"/>
          <p:cNvSpPr txBox="1"/>
          <p:nvPr userDrawn="1"/>
        </p:nvSpPr>
        <p:spPr>
          <a:xfrm>
            <a:off x="8040688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5,4</a:t>
            </a:r>
          </a:p>
        </p:txBody>
      </p:sp>
      <p:sp>
        <p:nvSpPr>
          <p:cNvPr id="57" name="Textfeld 56"/>
          <p:cNvSpPr txBox="1"/>
          <p:nvPr userDrawn="1"/>
        </p:nvSpPr>
        <p:spPr>
          <a:xfrm>
            <a:off x="376145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5,4</a:t>
            </a:r>
          </a:p>
        </p:txBody>
      </p:sp>
      <p:sp>
        <p:nvSpPr>
          <p:cNvPr id="58" name="Textfeld 57"/>
          <p:cNvSpPr txBox="1"/>
          <p:nvPr userDrawn="1"/>
        </p:nvSpPr>
        <p:spPr>
          <a:xfrm>
            <a:off x="8940800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9</a:t>
            </a:r>
          </a:p>
        </p:txBody>
      </p:sp>
      <p:sp>
        <p:nvSpPr>
          <p:cNvPr id="59" name="Textfeld 58"/>
          <p:cNvSpPr txBox="1"/>
          <p:nvPr userDrawn="1"/>
        </p:nvSpPr>
        <p:spPr>
          <a:xfrm>
            <a:off x="7371836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4,6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-779643" y="364490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94" name="Rechteck 93"/>
          <p:cNvSpPr/>
          <p:nvPr userDrawn="1"/>
        </p:nvSpPr>
        <p:spPr>
          <a:xfrm>
            <a:off x="839788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 userDrawn="1"/>
        </p:nvSpPr>
        <p:spPr>
          <a:xfrm>
            <a:off x="3540125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 userDrawn="1"/>
        </p:nvSpPr>
        <p:spPr>
          <a:xfrm>
            <a:off x="6240463" y="7036841"/>
            <a:ext cx="2411411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 userDrawn="1"/>
        </p:nvSpPr>
        <p:spPr>
          <a:xfrm>
            <a:off x="8940800" y="7036841"/>
            <a:ext cx="2412999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 userDrawn="1"/>
        </p:nvSpPr>
        <p:spPr>
          <a:xfrm>
            <a:off x="839788" y="7232595"/>
            <a:ext cx="3311525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 userDrawn="1"/>
        </p:nvSpPr>
        <p:spPr>
          <a:xfrm>
            <a:off x="4440237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 userDrawn="1"/>
        </p:nvSpPr>
        <p:spPr>
          <a:xfrm>
            <a:off x="8040688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11143413" y="0"/>
            <a:ext cx="208800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352207" y="1"/>
            <a:ext cx="841253" cy="841253"/>
            <a:chOff x="5757863" y="1597025"/>
            <a:chExt cx="1971675" cy="1971675"/>
          </a:xfrm>
        </p:grpSpPr>
        <p:sp>
          <p:nvSpPr>
            <p:cNvPr id="88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6" name="Rechteck 125"/>
          <p:cNvSpPr/>
          <p:nvPr userDrawn="1"/>
        </p:nvSpPr>
        <p:spPr>
          <a:xfrm>
            <a:off x="11143412" y="836613"/>
            <a:ext cx="1048586" cy="208800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Zone</a:t>
            </a:r>
          </a:p>
        </p:txBody>
      </p:sp>
      <p:sp>
        <p:nvSpPr>
          <p:cNvPr id="194" name="Freihandform 193"/>
          <p:cNvSpPr/>
          <p:nvPr userDrawn="1"/>
        </p:nvSpPr>
        <p:spPr>
          <a:xfrm>
            <a:off x="6454578" y="4290979"/>
            <a:ext cx="3142960" cy="1874865"/>
          </a:xfrm>
          <a:custGeom>
            <a:avLst/>
            <a:gdLst>
              <a:gd name="connsiteX0" fmla="*/ 0 w 3142960"/>
              <a:gd name="connsiteY0" fmla="*/ 0 h 1874865"/>
              <a:gd name="connsiteX1" fmla="*/ 3142960 w 3142960"/>
              <a:gd name="connsiteY1" fmla="*/ 0 h 1874865"/>
              <a:gd name="connsiteX2" fmla="*/ 3142960 w 3142960"/>
              <a:gd name="connsiteY2" fmla="*/ 1718404 h 1874865"/>
              <a:gd name="connsiteX3" fmla="*/ 2450159 w 3142960"/>
              <a:gd name="connsiteY3" fmla="*/ 1718404 h 1874865"/>
              <a:gd name="connsiteX4" fmla="*/ 2294991 w 3142960"/>
              <a:gd name="connsiteY4" fmla="*/ 1874865 h 1874865"/>
              <a:gd name="connsiteX5" fmla="*/ 0 w 3142960"/>
              <a:gd name="connsiteY5" fmla="*/ 1874865 h 1874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42960" h="1874865">
                <a:moveTo>
                  <a:pt x="0" y="0"/>
                </a:moveTo>
                <a:lnTo>
                  <a:pt x="3142960" y="0"/>
                </a:lnTo>
                <a:lnTo>
                  <a:pt x="3142960" y="1718404"/>
                </a:lnTo>
                <a:lnTo>
                  <a:pt x="2450159" y="1718404"/>
                </a:lnTo>
                <a:lnTo>
                  <a:pt x="2294991" y="1874865"/>
                </a:lnTo>
                <a:lnTo>
                  <a:pt x="0" y="1874865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de-DE" sz="1400" dirty="0">
                <a:solidFill>
                  <a:schemeClr val="tx1"/>
                </a:solidFill>
              </a:rPr>
              <a:t>Änderung </a:t>
            </a:r>
            <a:r>
              <a:rPr lang="de-DE" sz="1400" baseline="0" dirty="0">
                <a:solidFill>
                  <a:schemeClr val="tx1"/>
                </a:solidFill>
              </a:rPr>
              <a:t>Folienlayout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98" name="Freihandform 197"/>
          <p:cNvSpPr/>
          <p:nvPr userDrawn="1"/>
        </p:nvSpPr>
        <p:spPr>
          <a:xfrm>
            <a:off x="9674964" y="4290978"/>
            <a:ext cx="1529999" cy="1718405"/>
          </a:xfrm>
          <a:custGeom>
            <a:avLst/>
            <a:gdLst>
              <a:gd name="connsiteX0" fmla="*/ 73034 w 1529999"/>
              <a:gd name="connsiteY0" fmla="*/ 1 h 1718405"/>
              <a:gd name="connsiteX1" fmla="*/ 1529999 w 1529999"/>
              <a:gd name="connsiteY1" fmla="*/ 1 h 1718405"/>
              <a:gd name="connsiteX2" fmla="*/ 1529999 w 1529999"/>
              <a:gd name="connsiteY2" fmla="*/ 1614533 h 1718405"/>
              <a:gd name="connsiteX3" fmla="*/ 1425886 w 1529999"/>
              <a:gd name="connsiteY3" fmla="*/ 1718405 h 1718405"/>
              <a:gd name="connsiteX4" fmla="*/ 73033 w 1529999"/>
              <a:gd name="connsiteY4" fmla="*/ 1718405 h 1718405"/>
              <a:gd name="connsiteX5" fmla="*/ 73033 w 1529999"/>
              <a:gd name="connsiteY5" fmla="*/ 1718404 h 1718405"/>
              <a:gd name="connsiteX6" fmla="*/ 73034 w 1529999"/>
              <a:gd name="connsiteY6" fmla="*/ 1718404 h 1718405"/>
              <a:gd name="connsiteX7" fmla="*/ 0 w 1529999"/>
              <a:gd name="connsiteY7" fmla="*/ 0 h 1718405"/>
              <a:gd name="connsiteX8" fmla="*/ 73034 w 1529999"/>
              <a:gd name="connsiteY8" fmla="*/ 0 h 1718405"/>
              <a:gd name="connsiteX9" fmla="*/ 73034 w 1529999"/>
              <a:gd name="connsiteY9" fmla="*/ 1 h 1718405"/>
              <a:gd name="connsiteX10" fmla="*/ 73033 w 1529999"/>
              <a:gd name="connsiteY10" fmla="*/ 1 h 1718405"/>
              <a:gd name="connsiteX11" fmla="*/ 73033 w 1529999"/>
              <a:gd name="connsiteY11" fmla="*/ 1718404 h 1718405"/>
              <a:gd name="connsiteX12" fmla="*/ 0 w 1529999"/>
              <a:gd name="connsiteY12" fmla="*/ 1718404 h 1718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29999" h="1718405">
                <a:moveTo>
                  <a:pt x="73034" y="1"/>
                </a:moveTo>
                <a:lnTo>
                  <a:pt x="1529999" y="1"/>
                </a:lnTo>
                <a:lnTo>
                  <a:pt x="1529999" y="1614533"/>
                </a:lnTo>
                <a:lnTo>
                  <a:pt x="1425886" y="1718405"/>
                </a:lnTo>
                <a:lnTo>
                  <a:pt x="73033" y="1718405"/>
                </a:lnTo>
                <a:lnTo>
                  <a:pt x="73033" y="1718404"/>
                </a:lnTo>
                <a:lnTo>
                  <a:pt x="73034" y="1718404"/>
                </a:lnTo>
                <a:close/>
                <a:moveTo>
                  <a:pt x="0" y="0"/>
                </a:moveTo>
                <a:lnTo>
                  <a:pt x="73034" y="0"/>
                </a:lnTo>
                <a:lnTo>
                  <a:pt x="73034" y="1"/>
                </a:lnTo>
                <a:lnTo>
                  <a:pt x="73033" y="1"/>
                </a:lnTo>
                <a:lnTo>
                  <a:pt x="73033" y="1718404"/>
                </a:lnTo>
                <a:lnTo>
                  <a:pt x="0" y="1718404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Keine Nutzung</a:t>
            </a:r>
            <a:r>
              <a:rPr lang="de-DE" sz="1400" baseline="0" dirty="0">
                <a:solidFill>
                  <a:schemeClr val="tx1"/>
                </a:solidFill>
              </a:rPr>
              <a:t> </a:t>
            </a:r>
            <a:br>
              <a:rPr lang="de-DE" sz="1400" baseline="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von Konturen</a:t>
            </a: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86" name="Grafik 85"/>
          <p:cNvPicPr>
            <a:picLocks noChangeAspect="1"/>
          </p:cNvPicPr>
          <p:nvPr userDrawn="1"/>
        </p:nvPicPr>
        <p:blipFill rotWithShape="1">
          <a:blip r:embed="rId2"/>
          <a:srcRect l="-413" t="-391" r="64380" b="35617"/>
          <a:stretch/>
        </p:blipFill>
        <p:spPr>
          <a:xfrm>
            <a:off x="6523392" y="4362980"/>
            <a:ext cx="902660" cy="1730865"/>
          </a:xfrm>
          <a:prstGeom prst="rect">
            <a:avLst/>
          </a:prstGeom>
        </p:spPr>
      </p:pic>
      <p:sp>
        <p:nvSpPr>
          <p:cNvPr id="89" name="Rechteck 88"/>
          <p:cNvSpPr/>
          <p:nvPr userDrawn="1"/>
        </p:nvSpPr>
        <p:spPr>
          <a:xfrm>
            <a:off x="983657" y="4290980"/>
            <a:ext cx="5396096" cy="1874865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99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90" name="Gruppieren 89"/>
          <p:cNvGrpSpPr/>
          <p:nvPr userDrawn="1"/>
        </p:nvGrpSpPr>
        <p:grpSpPr>
          <a:xfrm>
            <a:off x="1056653" y="5056232"/>
            <a:ext cx="684077" cy="1037613"/>
            <a:chOff x="6857667" y="5091438"/>
            <a:chExt cx="684077" cy="1037613"/>
          </a:xfrm>
        </p:grpSpPr>
        <p:pic>
          <p:nvPicPr>
            <p:cNvPr id="92" name="Grafik 91"/>
            <p:cNvPicPr>
              <a:picLocks noChangeAspect="1"/>
            </p:cNvPicPr>
            <p:nvPr userDrawn="1"/>
          </p:nvPicPr>
          <p:blipFill rotWithShape="1">
            <a:blip r:embed="rId3"/>
            <a:srcRect l="2497" t="18212" r="6605"/>
            <a:stretch/>
          </p:blipFill>
          <p:spPr>
            <a:xfrm>
              <a:off x="6857667" y="5091438"/>
              <a:ext cx="684076" cy="210367"/>
            </a:xfrm>
            <a:prstGeom prst="rect">
              <a:avLst/>
            </a:prstGeom>
          </p:spPr>
        </p:pic>
        <p:pic>
          <p:nvPicPr>
            <p:cNvPr id="93" name="Grafik 9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857668" y="5340624"/>
              <a:ext cx="684076" cy="788427"/>
            </a:xfrm>
            <a:prstGeom prst="rect">
              <a:avLst/>
            </a:prstGeom>
          </p:spPr>
        </p:pic>
      </p:grpSp>
      <p:grpSp>
        <p:nvGrpSpPr>
          <p:cNvPr id="45" name="Gruppieren 44"/>
          <p:cNvGrpSpPr/>
          <p:nvPr userDrawn="1"/>
        </p:nvGrpSpPr>
        <p:grpSpPr>
          <a:xfrm>
            <a:off x="983657" y="1410980"/>
            <a:ext cx="1800000" cy="2808000"/>
            <a:chOff x="839788" y="1269171"/>
            <a:chExt cx="1800000" cy="2808000"/>
          </a:xfrm>
        </p:grpSpPr>
        <p:sp>
          <p:nvSpPr>
            <p:cNvPr id="67" name="Rechteck 66"/>
            <p:cNvSpPr/>
            <p:nvPr userDrawn="1"/>
          </p:nvSpPr>
          <p:spPr>
            <a:xfrm>
              <a:off x="839788" y="1269171"/>
              <a:ext cx="1800000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der Designfarben-Stufung</a:t>
              </a:r>
            </a:p>
          </p:txBody>
        </p:sp>
        <p:pic>
          <p:nvPicPr>
            <p:cNvPr id="3" name="Grafik 2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10998" y="1804589"/>
              <a:ext cx="1657581" cy="2200582"/>
            </a:xfrm>
            <a:prstGeom prst="rect">
              <a:avLst/>
            </a:prstGeom>
          </p:spPr>
        </p:pic>
        <p:cxnSp>
          <p:nvCxnSpPr>
            <p:cNvPr id="11" name="Gerader Verbinder 10"/>
            <p:cNvCxnSpPr/>
            <p:nvPr userDrawn="1"/>
          </p:nvCxnSpPr>
          <p:spPr>
            <a:xfrm flipH="1"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/>
            <p:cNvCxnSpPr/>
            <p:nvPr userDrawn="1"/>
          </p:nvCxnSpPr>
          <p:spPr>
            <a:xfrm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/>
            <p:cNvCxnSpPr/>
            <p:nvPr userDrawn="1"/>
          </p:nvCxnSpPr>
          <p:spPr>
            <a:xfrm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/>
            <p:cNvCxnSpPr/>
            <p:nvPr userDrawn="1"/>
          </p:nvCxnSpPr>
          <p:spPr>
            <a:xfrm flipH="1"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pieren 12"/>
          <p:cNvGrpSpPr/>
          <p:nvPr userDrawn="1"/>
        </p:nvGrpSpPr>
        <p:grpSpPr>
          <a:xfrm>
            <a:off x="2853046" y="1410980"/>
            <a:ext cx="1728659" cy="2808000"/>
            <a:chOff x="2711788" y="1269171"/>
            <a:chExt cx="1728659" cy="2808000"/>
          </a:xfrm>
        </p:grpSpPr>
        <p:sp>
          <p:nvSpPr>
            <p:cNvPr id="66" name="Rechteck 65"/>
            <p:cNvSpPr/>
            <p:nvPr userDrawn="1"/>
          </p:nvSpPr>
          <p:spPr>
            <a:xfrm>
              <a:off x="2711788" y="1269171"/>
              <a:ext cx="1728658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von</a:t>
              </a:r>
              <a:r>
                <a:rPr lang="de-DE" sz="1400" baseline="0" dirty="0">
                  <a:solidFill>
                    <a:schemeClr val="tx1"/>
                  </a:solidFill>
                </a:rPr>
                <a:t> Aufzählungszeichen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pic>
          <p:nvPicPr>
            <p:cNvPr id="15" name="Grafik 14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2787075" y="3463386"/>
              <a:ext cx="635580" cy="538545"/>
            </a:xfrm>
            <a:prstGeom prst="rect">
              <a:avLst/>
            </a:prstGeom>
          </p:spPr>
        </p:pic>
        <p:pic>
          <p:nvPicPr>
            <p:cNvPr id="16" name="Grafik 15"/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787074" y="1804589"/>
              <a:ext cx="1581371" cy="60968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2787075" y="2974830"/>
              <a:ext cx="1581371" cy="416556"/>
            </a:xfrm>
            <a:prstGeom prst="rect">
              <a:avLst/>
            </a:prstGeom>
          </p:spPr>
        </p:pic>
        <p:pic>
          <p:nvPicPr>
            <p:cNvPr id="19" name="Grafik 18"/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2787075" y="2486274"/>
              <a:ext cx="1581371" cy="416556"/>
            </a:xfrm>
            <a:prstGeom prst="rect">
              <a:avLst/>
            </a:prstGeom>
          </p:spPr>
        </p:pic>
        <p:cxnSp>
          <p:nvCxnSpPr>
            <p:cNvPr id="69" name="Gerader Verbinder 68"/>
            <p:cNvCxnSpPr/>
            <p:nvPr userDrawn="1"/>
          </p:nvCxnSpPr>
          <p:spPr>
            <a:xfrm flipH="1"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hteck 19"/>
            <p:cNvSpPr/>
            <p:nvPr userDrawn="1"/>
          </p:nvSpPr>
          <p:spPr>
            <a:xfrm>
              <a:off x="3539910" y="1835432"/>
              <a:ext cx="433462" cy="215892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3987392" y="2280905"/>
              <a:ext cx="381053" cy="133369"/>
            </a:xfrm>
            <a:prstGeom prst="rect">
              <a:avLst/>
            </a:prstGeom>
          </p:spPr>
        </p:pic>
        <p:sp>
          <p:nvSpPr>
            <p:cNvPr id="22" name="Rechteck 21"/>
            <p:cNvSpPr/>
            <p:nvPr userDrawn="1"/>
          </p:nvSpPr>
          <p:spPr>
            <a:xfrm>
              <a:off x="3792265" y="2658552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Gewinkelter Verbinder 23"/>
            <p:cNvCxnSpPr>
              <a:stCxn id="20" idx="2"/>
              <a:endCxn id="22" idx="3"/>
            </p:cNvCxnSpPr>
            <p:nvPr userDrawn="1"/>
          </p:nvCxnSpPr>
          <p:spPr>
            <a:xfrm rot="16200000" flipH="1">
              <a:off x="3488839" y="2319126"/>
              <a:ext cx="643228" cy="107624"/>
            </a:xfrm>
            <a:prstGeom prst="bentConnector4">
              <a:avLst>
                <a:gd name="adj1" fmla="val 63491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hteck 74"/>
            <p:cNvSpPr/>
            <p:nvPr userDrawn="1"/>
          </p:nvSpPr>
          <p:spPr>
            <a:xfrm>
              <a:off x="3792265" y="3147108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7" name="Gewinkelter Verbinder 76"/>
            <p:cNvCxnSpPr>
              <a:stCxn id="20" idx="2"/>
              <a:endCxn id="75" idx="3"/>
            </p:cNvCxnSpPr>
            <p:nvPr userDrawn="1"/>
          </p:nvCxnSpPr>
          <p:spPr>
            <a:xfrm rot="16200000" flipH="1">
              <a:off x="3244561" y="2563404"/>
              <a:ext cx="1131784" cy="107624"/>
            </a:xfrm>
            <a:prstGeom prst="bentConnector4">
              <a:avLst>
                <a:gd name="adj1" fmla="val 35506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Rechteck 102"/>
            <p:cNvSpPr/>
            <p:nvPr userDrawn="1"/>
          </p:nvSpPr>
          <p:spPr>
            <a:xfrm>
              <a:off x="3406141" y="3493908"/>
              <a:ext cx="1034306" cy="508023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0" dirty="0">
                  <a:solidFill>
                    <a:schemeClr val="tx1"/>
                  </a:solidFill>
                </a:rPr>
                <a:t>Listenebene</a:t>
              </a:r>
              <a:r>
                <a:rPr lang="de-DE" sz="1050" dirty="0">
                  <a:solidFill>
                    <a:schemeClr val="tx1"/>
                  </a:solidFill>
                </a:rPr>
                <a:t> anpassen!</a:t>
              </a:r>
            </a:p>
          </p:txBody>
        </p:sp>
        <p:cxnSp>
          <p:nvCxnSpPr>
            <p:cNvPr id="104" name="Gerader Verbinder 103"/>
            <p:cNvCxnSpPr/>
            <p:nvPr userDrawn="1"/>
          </p:nvCxnSpPr>
          <p:spPr>
            <a:xfrm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uppieren 50"/>
          <p:cNvGrpSpPr/>
          <p:nvPr userDrawn="1"/>
        </p:nvGrpSpPr>
        <p:grpSpPr>
          <a:xfrm>
            <a:off x="4651095" y="1410980"/>
            <a:ext cx="1728658" cy="2808000"/>
            <a:chOff x="4651095" y="1410980"/>
            <a:chExt cx="1728658" cy="2808000"/>
          </a:xfrm>
        </p:grpSpPr>
        <p:grpSp>
          <p:nvGrpSpPr>
            <p:cNvPr id="23" name="Gruppieren 22"/>
            <p:cNvGrpSpPr/>
            <p:nvPr userDrawn="1"/>
          </p:nvGrpSpPr>
          <p:grpSpPr>
            <a:xfrm>
              <a:off x="4651095" y="1410980"/>
              <a:ext cx="1728658" cy="1181257"/>
              <a:chOff x="4585632" y="1269171"/>
              <a:chExt cx="1728658" cy="1181257"/>
            </a:xfrm>
          </p:grpSpPr>
          <p:sp>
            <p:nvSpPr>
              <p:cNvPr id="74" name="Rechteck 73"/>
              <p:cNvSpPr/>
              <p:nvPr userDrawn="1"/>
            </p:nvSpPr>
            <p:spPr>
              <a:xfrm>
                <a:off x="4585632" y="1269171"/>
                <a:ext cx="1728658" cy="1181257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Schriftart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aseline="0" dirty="0">
                    <a:solidFill>
                      <a:schemeClr val="tx1"/>
                    </a:solidFill>
                  </a:rPr>
                  <a:t> (Textkörper)</a:t>
                </a: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2" name="Grafik 11"/>
              <p:cNvPicPr>
                <a:picLocks noChangeAspect="1"/>
              </p:cNvPicPr>
              <p:nvPr userDrawn="1"/>
            </p:nvPicPr>
            <p:blipFill>
              <a:blip r:embed="rId11"/>
              <a:stretch>
                <a:fillRect/>
              </a:stretch>
            </p:blipFill>
            <p:spPr>
              <a:xfrm>
                <a:off x="4657177" y="1804589"/>
                <a:ext cx="1583286" cy="575201"/>
              </a:xfrm>
              <a:prstGeom prst="rect">
                <a:avLst/>
              </a:prstGeom>
            </p:spPr>
          </p:pic>
          <p:sp>
            <p:nvSpPr>
              <p:cNvPr id="105" name="Rechteck 104"/>
              <p:cNvSpPr/>
              <p:nvPr userDrawn="1"/>
            </p:nvSpPr>
            <p:spPr>
              <a:xfrm>
                <a:off x="4657961" y="2219153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Rechteck 112"/>
              <p:cNvSpPr/>
              <p:nvPr userDrawn="1"/>
            </p:nvSpPr>
            <p:spPr>
              <a:xfrm>
                <a:off x="5221257" y="180259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0" name="Gruppieren 49"/>
            <p:cNvGrpSpPr/>
            <p:nvPr userDrawn="1"/>
          </p:nvGrpSpPr>
          <p:grpSpPr>
            <a:xfrm>
              <a:off x="4651095" y="2646351"/>
              <a:ext cx="1728658" cy="1572629"/>
              <a:chOff x="4651095" y="2646351"/>
              <a:chExt cx="1728658" cy="1572629"/>
            </a:xfrm>
          </p:grpSpPr>
          <p:sp>
            <p:nvSpPr>
              <p:cNvPr id="116" name="Rechteck 115"/>
              <p:cNvSpPr/>
              <p:nvPr userDrawn="1"/>
            </p:nvSpPr>
            <p:spPr>
              <a:xfrm>
                <a:off x="4651095" y="2646351"/>
                <a:ext cx="1728658" cy="1572629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Action Title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b="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="0" baseline="0" dirty="0">
                    <a:solidFill>
                      <a:schemeClr val="tx1"/>
                    </a:solidFill>
                  </a:rPr>
                  <a:t> (Überschriften)</a:t>
                </a:r>
                <a:endParaRPr lang="de-DE" sz="1400" b="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25" name="Grafik 24"/>
              <p:cNvPicPr>
                <a:picLocks noChangeAspect="1"/>
              </p:cNvPicPr>
              <p:nvPr userDrawn="1"/>
            </p:nvPicPr>
            <p:blipFill>
              <a:blip r:embed="rId12"/>
              <a:stretch>
                <a:fillRect/>
              </a:stretch>
            </p:blipFill>
            <p:spPr>
              <a:xfrm>
                <a:off x="4722640" y="3181769"/>
                <a:ext cx="1583286" cy="569272"/>
              </a:xfrm>
              <a:prstGeom prst="rect">
                <a:avLst/>
              </a:prstGeom>
            </p:spPr>
          </p:pic>
          <p:sp>
            <p:nvSpPr>
              <p:cNvPr id="107" name="Rechteck 106"/>
              <p:cNvSpPr/>
              <p:nvPr userDrawn="1"/>
            </p:nvSpPr>
            <p:spPr>
              <a:xfrm>
                <a:off x="5809978" y="2800361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Rechteck 108"/>
              <p:cNvSpPr/>
              <p:nvPr userDrawn="1"/>
            </p:nvSpPr>
            <p:spPr>
              <a:xfrm>
                <a:off x="5809978" y="3288917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Rechteck 117"/>
              <p:cNvSpPr/>
              <p:nvPr userDrawn="1"/>
            </p:nvSpPr>
            <p:spPr>
              <a:xfrm>
                <a:off x="4723424" y="3459859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Rechteck 118"/>
              <p:cNvSpPr/>
              <p:nvPr userDrawn="1"/>
            </p:nvSpPr>
            <p:spPr>
              <a:xfrm>
                <a:off x="5286720" y="317977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0" name="Rechteck 119"/>
              <p:cNvSpPr/>
              <p:nvPr userDrawn="1"/>
            </p:nvSpPr>
            <p:spPr>
              <a:xfrm>
                <a:off x="4651095" y="3786709"/>
                <a:ext cx="1728658" cy="432271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r>
                  <a:rPr lang="de-DE" sz="600" dirty="0">
                    <a:solidFill>
                      <a:schemeClr val="tx1"/>
                    </a:solidFill>
                  </a:rPr>
                  <a:t>Der</a:t>
                </a:r>
                <a:r>
                  <a:rPr lang="de-DE" sz="600" baseline="0" dirty="0">
                    <a:solidFill>
                      <a:schemeClr val="tx1"/>
                    </a:solidFill>
                  </a:rPr>
                  <a:t> Action Title ist ein vollständiger, zweizeiliger Satz und beschreibt die Kernaussage der Folie.</a:t>
                </a:r>
                <a:endParaRPr lang="de-DE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7" name="Rechteck 26"/>
          <p:cNvSpPr/>
          <p:nvPr userDrawn="1"/>
        </p:nvSpPr>
        <p:spPr>
          <a:xfrm>
            <a:off x="839788" y="1268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 userDrawn="1"/>
        </p:nvSpPr>
        <p:spPr>
          <a:xfrm>
            <a:off x="839788" y="6236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 userDrawn="1"/>
        </p:nvSpPr>
        <p:spPr>
          <a:xfrm>
            <a:off x="83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 userDrawn="1"/>
        </p:nvSpPr>
        <p:spPr>
          <a:xfrm>
            <a:off x="1127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 userDrawn="1"/>
        </p:nvSpPr>
        <p:spPr>
          <a:xfrm>
            <a:off x="8904737" y="6076693"/>
            <a:ext cx="2447051" cy="23172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inhaltung der Führungslinien!</a:t>
            </a:r>
          </a:p>
        </p:txBody>
      </p:sp>
      <p:sp>
        <p:nvSpPr>
          <p:cNvPr id="28" name="Gleichschenkliges Dreieck 27"/>
          <p:cNvSpPr/>
          <p:nvPr userDrawn="1"/>
        </p:nvSpPr>
        <p:spPr>
          <a:xfrm>
            <a:off x="8746337" y="6076693"/>
            <a:ext cx="158400" cy="159720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5" name="Gleichschenkliges Dreieck 124"/>
          <p:cNvSpPr/>
          <p:nvPr userDrawn="1"/>
        </p:nvSpPr>
        <p:spPr>
          <a:xfrm>
            <a:off x="11121389" y="5918660"/>
            <a:ext cx="158400" cy="158033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0" name="Rechteck 39"/>
          <p:cNvSpPr/>
          <p:nvPr userDrawn="1"/>
        </p:nvSpPr>
        <p:spPr>
          <a:xfrm>
            <a:off x="983657" y="4374253"/>
            <a:ext cx="83099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Änderung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Fußzeile</a:t>
            </a:r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4511824" y="4362980"/>
            <a:ext cx="887298" cy="1720855"/>
            <a:chOff x="5487584" y="4372990"/>
            <a:chExt cx="887298" cy="1720855"/>
          </a:xfrm>
        </p:grpSpPr>
        <p:sp>
          <p:nvSpPr>
            <p:cNvPr id="127" name="Rechteck 126"/>
            <p:cNvSpPr/>
            <p:nvPr userDrawn="1"/>
          </p:nvSpPr>
          <p:spPr>
            <a:xfrm>
              <a:off x="5487584" y="4372990"/>
              <a:ext cx="887298" cy="1720855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ußzeile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dirty="0">
                  <a:solidFill>
                    <a:schemeClr val="tx1"/>
                  </a:solidFill>
                </a:rPr>
                <a:t>verschoben</a:t>
              </a:r>
              <a:r>
                <a:rPr lang="de-DE" sz="1000" baseline="0" dirty="0">
                  <a:solidFill>
                    <a:schemeClr val="tx1"/>
                  </a:solidFill>
                </a:rPr>
                <a:t> 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gelöscht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???</a:t>
              </a:r>
            </a:p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olie zurück setzen</a:t>
              </a:r>
            </a:p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Inhalt bleibt unbeeinflusst!</a:t>
              </a:r>
            </a:p>
          </p:txBody>
        </p:sp>
        <p:cxnSp>
          <p:nvCxnSpPr>
            <p:cNvPr id="129" name="Gewinkelter Verbinder 128"/>
            <p:cNvCxnSpPr/>
            <p:nvPr userDrawn="1"/>
          </p:nvCxnSpPr>
          <p:spPr>
            <a:xfrm>
              <a:off x="5931233" y="512228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winkelter Verbinder 128"/>
            <p:cNvCxnSpPr/>
            <p:nvPr userDrawn="1"/>
          </p:nvCxnSpPr>
          <p:spPr>
            <a:xfrm>
              <a:off x="5931233" y="552677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814655" y="4362981"/>
            <a:ext cx="2697228" cy="1730865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399063" y="4362980"/>
            <a:ext cx="906863" cy="1730865"/>
          </a:xfrm>
          <a:prstGeom prst="rect">
            <a:avLst/>
          </a:prstGeom>
        </p:spPr>
      </p:pic>
      <p:sp>
        <p:nvSpPr>
          <p:cNvPr id="157" name="Rechteck 156"/>
          <p:cNvSpPr/>
          <p:nvPr userDrawn="1"/>
        </p:nvSpPr>
        <p:spPr>
          <a:xfrm>
            <a:off x="8264368" y="1410980"/>
            <a:ext cx="1530000" cy="280717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1400" b="0" dirty="0">
              <a:solidFill>
                <a:schemeClr val="tx1"/>
              </a:solidFill>
            </a:endParaRPr>
          </a:p>
        </p:txBody>
      </p:sp>
      <p:sp>
        <p:nvSpPr>
          <p:cNvPr id="161" name="Stern mit 5 Zacken 160"/>
          <p:cNvSpPr/>
          <p:nvPr userDrawn="1"/>
        </p:nvSpPr>
        <p:spPr>
          <a:xfrm>
            <a:off x="9788075" y="4978351"/>
            <a:ext cx="576000" cy="576064"/>
          </a:xfrm>
          <a:prstGeom prst="star5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0" name="Ellipse 69"/>
          <p:cNvSpPr/>
          <p:nvPr userDrawn="1"/>
        </p:nvSpPr>
        <p:spPr>
          <a:xfrm>
            <a:off x="10651602" y="5118975"/>
            <a:ext cx="432000" cy="432000"/>
          </a:xfrm>
          <a:prstGeom prst="ellipse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 userDrawn="1"/>
        </p:nvSpPr>
        <p:spPr>
          <a:xfrm>
            <a:off x="10197829" y="4861893"/>
            <a:ext cx="496495" cy="51058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 userDrawn="1"/>
        </p:nvSpPr>
        <p:spPr>
          <a:xfrm>
            <a:off x="9772376" y="5667842"/>
            <a:ext cx="1345636" cy="273572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aseline="0" dirty="0">
                <a:solidFill>
                  <a:schemeClr val="tx1"/>
                </a:solidFill>
              </a:rPr>
              <a:t>Füllfarbe definiert eine Form hinreichend!</a:t>
            </a:r>
          </a:p>
        </p:txBody>
      </p:sp>
      <p:grpSp>
        <p:nvGrpSpPr>
          <p:cNvPr id="185" name="Gruppieren 184"/>
          <p:cNvGrpSpPr/>
          <p:nvPr userDrawn="1"/>
        </p:nvGrpSpPr>
        <p:grpSpPr>
          <a:xfrm>
            <a:off x="6460110" y="1407527"/>
            <a:ext cx="1530001" cy="2810625"/>
            <a:chOff x="6460110" y="1407527"/>
            <a:chExt cx="1530001" cy="2810625"/>
          </a:xfrm>
        </p:grpSpPr>
        <p:sp>
          <p:nvSpPr>
            <p:cNvPr id="156" name="Rechteck 155"/>
            <p:cNvSpPr/>
            <p:nvPr userDrawn="1"/>
          </p:nvSpPr>
          <p:spPr>
            <a:xfrm>
              <a:off x="6460111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4" name="Rechteck 163"/>
            <p:cNvSpPr/>
            <p:nvPr userDrawn="1"/>
          </p:nvSpPr>
          <p:spPr>
            <a:xfrm>
              <a:off x="6460110" y="1407527"/>
              <a:ext cx="1530000" cy="401518"/>
            </a:xfrm>
            <a:prstGeom prst="rect">
              <a:avLst/>
            </a:prstGeom>
            <a:solidFill>
              <a:srgbClr val="6A8A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PS-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6-138-34</a:t>
              </a:r>
            </a:p>
          </p:txBody>
        </p:sp>
        <p:sp>
          <p:nvSpPr>
            <p:cNvPr id="167" name="Rechteck 166"/>
            <p:cNvSpPr/>
            <p:nvPr userDrawn="1"/>
          </p:nvSpPr>
          <p:spPr>
            <a:xfrm>
              <a:off x="6460110" y="1889348"/>
              <a:ext cx="1530000" cy="401518"/>
            </a:xfrm>
            <a:prstGeom prst="rect">
              <a:avLst/>
            </a:prstGeom>
            <a:solidFill>
              <a:srgbClr val="3F5F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63-95-68</a:t>
              </a:r>
            </a:p>
          </p:txBody>
        </p:sp>
        <p:sp>
          <p:nvSpPr>
            <p:cNvPr id="170" name="Rechteck 169"/>
            <p:cNvSpPr/>
            <p:nvPr userDrawn="1"/>
          </p:nvSpPr>
          <p:spPr>
            <a:xfrm>
              <a:off x="6460110" y="2371170"/>
              <a:ext cx="1530000" cy="401518"/>
            </a:xfrm>
            <a:prstGeom prst="rect">
              <a:avLst/>
            </a:prstGeom>
            <a:solidFill>
              <a:srgbClr val="0043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Türkis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0-67-89</a:t>
              </a:r>
            </a:p>
          </p:txBody>
        </p:sp>
        <p:sp>
          <p:nvSpPr>
            <p:cNvPr id="173" name="Rechteck 172"/>
            <p:cNvSpPr/>
            <p:nvPr userDrawn="1"/>
          </p:nvSpPr>
          <p:spPr>
            <a:xfrm>
              <a:off x="6460110" y="2852991"/>
              <a:ext cx="1530000" cy="401518"/>
            </a:xfrm>
            <a:prstGeom prst="rect">
              <a:avLst/>
            </a:prstGeom>
            <a:solidFill>
              <a:srgbClr val="041E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4-30-66</a:t>
              </a:r>
            </a:p>
          </p:txBody>
        </p:sp>
        <p:sp>
          <p:nvSpPr>
            <p:cNvPr id="176" name="Rechteck 175"/>
            <p:cNvSpPr/>
            <p:nvPr userDrawn="1"/>
          </p:nvSpPr>
          <p:spPr>
            <a:xfrm>
              <a:off x="6460110" y="3334813"/>
              <a:ext cx="1530000" cy="401518"/>
            </a:xfrm>
            <a:prstGeom prst="rect">
              <a:avLst/>
            </a:prstGeom>
            <a:solidFill>
              <a:srgbClr val="95A2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1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49-162-171</a:t>
              </a:r>
            </a:p>
          </p:txBody>
        </p:sp>
        <p:sp>
          <p:nvSpPr>
            <p:cNvPr id="179" name="Rechteck 178"/>
            <p:cNvSpPr/>
            <p:nvPr userDrawn="1"/>
          </p:nvSpPr>
          <p:spPr>
            <a:xfrm>
              <a:off x="6460110" y="3816634"/>
              <a:ext cx="1530000" cy="401518"/>
            </a:xfrm>
            <a:prstGeom prst="rect">
              <a:avLst/>
            </a:prstGeom>
            <a:solidFill>
              <a:srgbClr val="FFC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tx1"/>
                  </a:solidFill>
                </a:rPr>
                <a:t>Sonderfa</a:t>
              </a:r>
              <a:r>
                <a:rPr lang="de-DE" sz="1200" dirty="0">
                  <a:solidFill>
                    <a:schemeClr val="tx1"/>
                  </a:solidFill>
                </a:rPr>
                <a:t>. Gelb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55-203-0</a:t>
              </a:r>
            </a:p>
          </p:txBody>
        </p:sp>
      </p:grpSp>
      <p:grpSp>
        <p:nvGrpSpPr>
          <p:cNvPr id="184" name="Gruppieren 183"/>
          <p:cNvGrpSpPr/>
          <p:nvPr userDrawn="1"/>
        </p:nvGrpSpPr>
        <p:grpSpPr>
          <a:xfrm>
            <a:off x="8067537" y="1407527"/>
            <a:ext cx="1530001" cy="2810625"/>
            <a:chOff x="8085059" y="1407527"/>
            <a:chExt cx="1530001" cy="2810625"/>
          </a:xfrm>
        </p:grpSpPr>
        <p:sp>
          <p:nvSpPr>
            <p:cNvPr id="165" name="Rechteck 164"/>
            <p:cNvSpPr/>
            <p:nvPr userDrawn="1"/>
          </p:nvSpPr>
          <p:spPr>
            <a:xfrm>
              <a:off x="8085060" y="1407527"/>
              <a:ext cx="1530000" cy="401518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51-193-57</a:t>
              </a:r>
            </a:p>
          </p:txBody>
        </p:sp>
        <p:sp>
          <p:nvSpPr>
            <p:cNvPr id="168" name="Rechteck 167"/>
            <p:cNvSpPr/>
            <p:nvPr userDrawn="1"/>
          </p:nvSpPr>
          <p:spPr>
            <a:xfrm>
              <a:off x="8085059" y="1889348"/>
              <a:ext cx="1530000" cy="401518"/>
            </a:xfrm>
            <a:prstGeom prst="rect">
              <a:avLst/>
            </a:prstGeom>
            <a:solidFill>
              <a:srgbClr val="658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1-141-103</a:t>
              </a:r>
            </a:p>
          </p:txBody>
        </p:sp>
        <p:sp>
          <p:nvSpPr>
            <p:cNvPr id="171" name="Rechteck 170"/>
            <p:cNvSpPr/>
            <p:nvPr userDrawn="1"/>
          </p:nvSpPr>
          <p:spPr>
            <a:xfrm>
              <a:off x="8085059" y="2371170"/>
              <a:ext cx="1530000" cy="401518"/>
            </a:xfrm>
            <a:prstGeom prst="rect">
              <a:avLst/>
            </a:prstGeom>
            <a:solidFill>
              <a:srgbClr val="3467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 Türkis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52-103-125</a:t>
              </a:r>
            </a:p>
          </p:txBody>
        </p:sp>
        <p:sp>
          <p:nvSpPr>
            <p:cNvPr id="174" name="Rechteck 173"/>
            <p:cNvSpPr/>
            <p:nvPr userDrawn="1"/>
          </p:nvSpPr>
          <p:spPr>
            <a:xfrm>
              <a:off x="8085059" y="2852991"/>
              <a:ext cx="1530000" cy="401518"/>
            </a:xfrm>
            <a:prstGeom prst="rect">
              <a:avLst/>
            </a:prstGeom>
            <a:solidFill>
              <a:srgbClr val="002F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b="0" dirty="0">
                  <a:solidFill>
                    <a:schemeClr val="bg1"/>
                  </a:solidFill>
                </a:rPr>
                <a:t>0-47-108</a:t>
              </a:r>
            </a:p>
          </p:txBody>
        </p:sp>
        <p:sp>
          <p:nvSpPr>
            <p:cNvPr id="177" name="Rechteck 176"/>
            <p:cNvSpPr/>
            <p:nvPr userDrawn="1"/>
          </p:nvSpPr>
          <p:spPr>
            <a:xfrm>
              <a:off x="8085059" y="3334813"/>
              <a:ext cx="1530000" cy="401518"/>
            </a:xfrm>
            <a:prstGeom prst="rect">
              <a:avLst/>
            </a:prstGeom>
            <a:solidFill>
              <a:srgbClr val="B0BC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2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76-188-196</a:t>
              </a:r>
            </a:p>
          </p:txBody>
        </p:sp>
        <p:sp>
          <p:nvSpPr>
            <p:cNvPr id="180" name="Rechteck 179"/>
            <p:cNvSpPr/>
            <p:nvPr userDrawn="1"/>
          </p:nvSpPr>
          <p:spPr>
            <a:xfrm>
              <a:off x="8085060" y="3816634"/>
              <a:ext cx="1530000" cy="401518"/>
            </a:xfrm>
            <a:prstGeom prst="rect">
              <a:avLst/>
            </a:prstGeom>
            <a:solidFill>
              <a:srgbClr val="F582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Orange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45-130-31</a:t>
              </a:r>
            </a:p>
          </p:txBody>
        </p:sp>
      </p:grpSp>
      <p:grpSp>
        <p:nvGrpSpPr>
          <p:cNvPr id="183" name="Gruppieren 182"/>
          <p:cNvGrpSpPr/>
          <p:nvPr userDrawn="1"/>
        </p:nvGrpSpPr>
        <p:grpSpPr>
          <a:xfrm>
            <a:off x="9674964" y="1407527"/>
            <a:ext cx="1530000" cy="2810625"/>
            <a:chOff x="9674964" y="1407527"/>
            <a:chExt cx="1530000" cy="2810625"/>
          </a:xfrm>
        </p:grpSpPr>
        <p:sp>
          <p:nvSpPr>
            <p:cNvPr id="159" name="Rechteck 158"/>
            <p:cNvSpPr/>
            <p:nvPr userDrawn="1"/>
          </p:nvSpPr>
          <p:spPr>
            <a:xfrm>
              <a:off x="9674964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6" name="Rechteck 165"/>
            <p:cNvSpPr/>
            <p:nvPr userDrawn="1"/>
          </p:nvSpPr>
          <p:spPr>
            <a:xfrm>
              <a:off x="9674964" y="1407527"/>
              <a:ext cx="1530000" cy="401518"/>
            </a:xfrm>
            <a:prstGeom prst="rect">
              <a:avLst/>
            </a:prstGeom>
            <a:solidFill>
              <a:srgbClr val="C5DE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97-222-137</a:t>
              </a:r>
            </a:p>
          </p:txBody>
        </p:sp>
        <p:sp>
          <p:nvSpPr>
            <p:cNvPr id="169" name="Rechteck 168"/>
            <p:cNvSpPr/>
            <p:nvPr userDrawn="1"/>
          </p:nvSpPr>
          <p:spPr>
            <a:xfrm>
              <a:off x="9674964" y="1889348"/>
              <a:ext cx="1530000" cy="401518"/>
            </a:xfrm>
            <a:prstGeom prst="rect">
              <a:avLst/>
            </a:prstGeom>
            <a:solidFill>
              <a:srgbClr val="69C1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97-192-134</a:t>
              </a:r>
            </a:p>
          </p:txBody>
        </p:sp>
        <p:sp>
          <p:nvSpPr>
            <p:cNvPr id="172" name="Rechteck 171"/>
            <p:cNvSpPr/>
            <p:nvPr userDrawn="1"/>
          </p:nvSpPr>
          <p:spPr>
            <a:xfrm>
              <a:off x="9674964" y="2371170"/>
              <a:ext cx="1530000" cy="401518"/>
            </a:xfrm>
            <a:prstGeom prst="rect">
              <a:avLst/>
            </a:prstGeom>
            <a:solidFill>
              <a:srgbClr val="779F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TF Metallic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19-159-181</a:t>
              </a:r>
            </a:p>
          </p:txBody>
        </p:sp>
        <p:sp>
          <p:nvSpPr>
            <p:cNvPr id="175" name="Rechteck 174"/>
            <p:cNvSpPr/>
            <p:nvPr userDrawn="1"/>
          </p:nvSpPr>
          <p:spPr>
            <a:xfrm>
              <a:off x="9674964" y="2852991"/>
              <a:ext cx="1530000" cy="401518"/>
            </a:xfrm>
            <a:prstGeom prst="rect">
              <a:avLst/>
            </a:prstGeom>
            <a:solidFill>
              <a:srgbClr val="6C8C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U-Blau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08-140-199</a:t>
              </a:r>
            </a:p>
          </p:txBody>
        </p:sp>
        <p:sp>
          <p:nvSpPr>
            <p:cNvPr id="178" name="Rechteck 177"/>
            <p:cNvSpPr/>
            <p:nvPr userDrawn="1"/>
          </p:nvSpPr>
          <p:spPr>
            <a:xfrm>
              <a:off x="9674964" y="3334813"/>
              <a:ext cx="1530000" cy="401518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3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09-217-222</a:t>
              </a:r>
            </a:p>
          </p:txBody>
        </p:sp>
        <p:sp>
          <p:nvSpPr>
            <p:cNvPr id="181" name="Rechteck 180"/>
            <p:cNvSpPr/>
            <p:nvPr userDrawn="1"/>
          </p:nvSpPr>
          <p:spPr>
            <a:xfrm>
              <a:off x="9674964" y="3816634"/>
              <a:ext cx="1530000" cy="401518"/>
            </a:xfrm>
            <a:prstGeom prst="rect">
              <a:avLst/>
            </a:prstGeom>
            <a:solidFill>
              <a:srgbClr val="DC1E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</a:t>
              </a:r>
              <a:r>
                <a:rPr lang="de-DE" sz="1200" dirty="0" err="1">
                  <a:solidFill>
                    <a:schemeClr val="bg1"/>
                  </a:solidFill>
                </a:rPr>
                <a:t>Echtrot</a:t>
              </a:r>
              <a:endParaRPr lang="de-DE" sz="1200" dirty="0">
                <a:solidFill>
                  <a:schemeClr val="bg1"/>
                </a:solidFill>
              </a:endParaRP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20-30-38</a:t>
              </a:r>
            </a:p>
          </p:txBody>
        </p:sp>
      </p:grpSp>
      <p:grpSp>
        <p:nvGrpSpPr>
          <p:cNvPr id="7" name="Gruppieren 6"/>
          <p:cNvGrpSpPr/>
          <p:nvPr userDrawn="1"/>
        </p:nvGrpSpPr>
        <p:grpSpPr>
          <a:xfrm>
            <a:off x="7500004" y="4646558"/>
            <a:ext cx="2000544" cy="1294855"/>
            <a:chOff x="7500004" y="4646559"/>
            <a:chExt cx="1875600" cy="1206000"/>
          </a:xfrm>
        </p:grpSpPr>
        <p:pic>
          <p:nvPicPr>
            <p:cNvPr id="5" name="Grafik 4"/>
            <p:cNvPicPr>
              <a:picLocks noChangeAspect="1"/>
            </p:cNvPicPr>
            <p:nvPr userDrawn="1"/>
          </p:nvPicPr>
          <p:blipFill rotWithShape="1">
            <a:blip r:embed="rId15"/>
            <a:srcRect t="2" r="3019" b="33055"/>
            <a:stretch/>
          </p:blipFill>
          <p:spPr>
            <a:xfrm>
              <a:off x="7500004" y="4646559"/>
              <a:ext cx="1278000" cy="1206000"/>
            </a:xfrm>
            <a:prstGeom prst="rect">
              <a:avLst/>
            </a:prstGeom>
          </p:spPr>
        </p:pic>
        <p:sp>
          <p:nvSpPr>
            <p:cNvPr id="6" name="Rechteck 5"/>
            <p:cNvSpPr/>
            <p:nvPr userDrawn="1"/>
          </p:nvSpPr>
          <p:spPr>
            <a:xfrm>
              <a:off x="8778004" y="4655974"/>
              <a:ext cx="595908" cy="11965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128" name="Grafik 127"/>
            <p:cNvPicPr>
              <a:picLocks noChangeAspect="1"/>
            </p:cNvPicPr>
            <p:nvPr userDrawn="1"/>
          </p:nvPicPr>
          <p:blipFill rotWithShape="1">
            <a:blip r:embed="rId15"/>
            <a:srcRect l="1374" t="66984" r="53279" b="7041"/>
            <a:stretch/>
          </p:blipFill>
          <p:spPr>
            <a:xfrm>
              <a:off x="8778004" y="4787275"/>
              <a:ext cx="597600" cy="468000"/>
            </a:xfrm>
            <a:prstGeom prst="rect">
              <a:avLst/>
            </a:prstGeom>
          </p:spPr>
        </p:pic>
        <p:pic>
          <p:nvPicPr>
            <p:cNvPr id="133" name="Grafik 132"/>
            <p:cNvPicPr>
              <a:picLocks noChangeAspect="1"/>
            </p:cNvPicPr>
            <p:nvPr userDrawn="1"/>
          </p:nvPicPr>
          <p:blipFill rotWithShape="1">
            <a:blip r:embed="rId15"/>
            <a:srcRect l="45902" t="66984" r="7659" b="7041"/>
            <a:stretch/>
          </p:blipFill>
          <p:spPr>
            <a:xfrm>
              <a:off x="8761912" y="5320597"/>
              <a:ext cx="612000" cy="46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93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>
          <p15:clr>
            <a:srgbClr val="5ACBF0"/>
          </p15:clr>
        </p15:guide>
        <p15:guide id="13" pos="2048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and Production Systems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 of Presentation: Reason, Client, Co-operation partner, Lectur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477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5" pos="3114">
          <p15:clr>
            <a:srgbClr val="A4A3A4"/>
          </p15:clr>
        </p15:guide>
        <p15:guide id="26" orient="horz" pos="2704">
          <p15:clr>
            <a:srgbClr val="A4A3A4"/>
          </p15:clr>
        </p15:guide>
        <p15:guide id="27" orient="horz" pos="3407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ör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d Production Systems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7" name="Thank you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6791155" y="4811018"/>
            <a:ext cx="4561057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0" b="1" cap="all" baseline="0" noProof="0"/>
              <a:t>Thank you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C4769811-758A-495E-BA2C-E3C59420FC0E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855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908977AA-1B13-454F-A7A7-5E54284DA029}"/>
              </a:ext>
            </a:extLst>
          </p:cNvPr>
          <p:cNvGrpSpPr>
            <a:grpSpLocks noChangeAspect="1"/>
          </p:cNvGrpSpPr>
          <p:nvPr/>
        </p:nvGrpSpPr>
        <p:grpSpPr>
          <a:xfrm>
            <a:off x="11352212" y="0"/>
            <a:ext cx="839788" cy="838800"/>
            <a:chOff x="11352212" y="0"/>
            <a:chExt cx="839788" cy="8388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A29F8B8-7248-401D-BA2D-BC06A0D2199C}"/>
                </a:ext>
              </a:extLst>
            </p:cNvPr>
            <p:cNvSpPr/>
            <p:nvPr/>
          </p:nvSpPr>
          <p:spPr>
            <a:xfrm>
              <a:off x="11352212" y="0"/>
              <a:ext cx="839788" cy="8388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" name="FAPS Logo">
              <a:extLst>
                <a:ext uri="{FF2B5EF4-FFF2-40B4-BE49-F238E27FC236}">
                  <a16:creationId xmlns:a16="http://schemas.microsoft.com/office/drawing/2014/main" id="{BC303D02-1D43-4413-AFFC-C24D13E8EF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05" t="3920" r="3774" b="3985"/>
            <a:stretch/>
          </p:blipFill>
          <p:spPr>
            <a:xfrm>
              <a:off x="11361890" y="1094"/>
              <a:ext cx="830110" cy="836613"/>
            </a:xfrm>
            <a:prstGeom prst="rect">
              <a:avLst/>
            </a:prstGeom>
          </p:spPr>
        </p:pic>
      </p:grpSp>
      <p:sp>
        <p:nvSpPr>
          <p:cNvPr id="13" name="Title bar">
            <a:extLst>
              <a:ext uri="{FF2B5EF4-FFF2-40B4-BE49-F238E27FC236}">
                <a16:creationId xmlns:a16="http://schemas.microsoft.com/office/drawing/2014/main" id="{992D165D-EB18-4621-B40E-4B97D4C772F6}"/>
              </a:ext>
            </a:extLst>
          </p:cNvPr>
          <p:cNvSpPr>
            <a:spLocks/>
          </p:cNvSpPr>
          <p:nvPr/>
        </p:nvSpPr>
        <p:spPr bwMode="auto">
          <a:xfrm>
            <a:off x="-1" y="388836"/>
            <a:ext cx="630000" cy="16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5640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FA8F9A1-B8D7-485B-8A4C-BBEFE2273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512425" cy="504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1">
            <a:extLst>
              <a:ext uri="{FF2B5EF4-FFF2-40B4-BE49-F238E27FC236}">
                <a16:creationId xmlns:a16="http://schemas.microsoft.com/office/drawing/2014/main" id="{8BBCBA7C-65E1-4216-ADAA-617BD3A66C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1268413"/>
            <a:ext cx="10512426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684866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63" r:id="rId3"/>
    <p:sldLayoutId id="2147484065" r:id="rId4"/>
    <p:sldLayoutId id="2147484071" r:id="rId5"/>
    <p:sldLayoutId id="2147484072" r:id="rId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0" pos="529">
          <p15:clr>
            <a:srgbClr val="A4A3A4"/>
          </p15:clr>
        </p15:guide>
        <p15:guide id="61" orient="horz" pos="3974">
          <p15:clr>
            <a:srgbClr val="A4A3A4"/>
          </p15:clr>
        </p15:guide>
        <p15:guide id="62" orient="horz" pos="210">
          <p15:clr>
            <a:srgbClr val="A4A3A4"/>
          </p15:clr>
        </p15:guide>
        <p15:guide id="63" pos="715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28281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8360DB-9043-79F8-649D-6B47CCFCDC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5DDF2E-1E05-646F-6F7E-9EFBB1DF2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99AABC5-A2D6-B4A3-4775-6362ACF85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ot-Liner Insertion in Small Scale Manufacture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749C2B-9378-5A5B-87DF-4D2B6E799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EEDF1BC-B301-AC4B-541F-FAC863EB0905}"/>
              </a:ext>
            </a:extLst>
          </p:cNvPr>
          <p:cNvSpPr txBox="1"/>
          <p:nvPr/>
        </p:nvSpPr>
        <p:spPr>
          <a:xfrm>
            <a:off x="807069" y="1052736"/>
            <a:ext cx="9865096" cy="475252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b="1" dirty="0"/>
              <a:t>Predominantly Manual Process</a:t>
            </a:r>
            <a:r>
              <a:rPr lang="en-US" dirty="0"/>
              <a:t> – Operators cut, fold, and insert slot liners by hand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b="1" dirty="0"/>
              <a:t>Simple Tools</a:t>
            </a:r>
            <a:r>
              <a:rPr lang="en-US" dirty="0"/>
              <a:t> – Use of jigs, cutting/folding machines; insertion done manually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b="1" dirty="0"/>
              <a:t>Design Adaptations</a:t>
            </a:r>
            <a:r>
              <a:rPr lang="en-US" dirty="0"/>
              <a:t> – Special slot liners with folded or cuffed ends for easier manual handling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b="1" dirty="0"/>
              <a:t>Advantages</a:t>
            </a:r>
            <a:r>
              <a:rPr lang="en-US" dirty="0"/>
              <a:t> – Flexible, low-cost, suitable for small volumes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b="1" dirty="0"/>
              <a:t>Limitations</a:t>
            </a:r>
            <a:r>
              <a:rPr lang="en-US" dirty="0"/>
              <a:t> – </a:t>
            </a:r>
            <a:r>
              <a:rPr lang="en-US" dirty="0" err="1"/>
              <a:t>Labour</a:t>
            </a:r>
            <a:r>
              <a:rPr lang="en-US" dirty="0"/>
              <a:t>-intensive, inconsistent quality, difficult to scale or standardize, limited integration with digital workflows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endParaRPr lang="en-IN" dirty="0" err="1"/>
          </a:p>
        </p:txBody>
      </p:sp>
      <p:pic>
        <p:nvPicPr>
          <p:cNvPr id="7" name="Picture 6" descr="A diagram of a grooving roller&#10;&#10;AI-generated content may be incorrect.">
            <a:extLst>
              <a:ext uri="{FF2B5EF4-FFF2-40B4-BE49-F238E27FC236}">
                <a16:creationId xmlns:a16="http://schemas.microsoft.com/office/drawing/2014/main" id="{E1D87550-3C83-E024-22A6-02D7E525DF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3512" y="2993613"/>
            <a:ext cx="3600400" cy="2811651"/>
          </a:xfrm>
          <a:prstGeom prst="rect">
            <a:avLst/>
          </a:prstGeom>
        </p:spPr>
      </p:pic>
      <p:pic>
        <p:nvPicPr>
          <p:cNvPr id="9" name="Picture 8" descr="A black and white drawing of a paper holder&#10;&#10;AI-generated content may be incorrect.">
            <a:extLst>
              <a:ext uri="{FF2B5EF4-FFF2-40B4-BE49-F238E27FC236}">
                <a16:creationId xmlns:a16="http://schemas.microsoft.com/office/drawing/2014/main" id="{A29A5A43-62AB-AA18-9F55-9E84367174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152" y="3009391"/>
            <a:ext cx="1321702" cy="2479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0988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8DC039-05F6-F267-929F-9EDF982983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818BEE-0A69-1FCA-5324-D1959F0684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BA2466-46E4-2740-8A8D-B120AAD93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Automation Plan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2E4518-8261-D1DD-B467-9B7C7B5F58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583F27-3CC6-6350-6D09-64FB79B1A1A2}"/>
              </a:ext>
            </a:extLst>
          </p:cNvPr>
          <p:cNvSpPr txBox="1"/>
          <p:nvPr/>
        </p:nvSpPr>
        <p:spPr>
          <a:xfrm>
            <a:off x="807347" y="996768"/>
            <a:ext cx="10009112" cy="4032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b="1" dirty="0"/>
              <a:t>Goal</a:t>
            </a:r>
            <a:r>
              <a:rPr lang="en-US" dirty="0"/>
              <a:t>: Automate slot liner insertion for small-scale, high-variant motor production.</a:t>
            </a:r>
          </a:p>
          <a:p>
            <a:pPr>
              <a:buClr>
                <a:srgbClr val="97C139"/>
              </a:buClr>
            </a:pPr>
            <a:r>
              <a:rPr lang="en-IN" b="1" dirty="0"/>
              <a:t>Approach</a:t>
            </a:r>
            <a:r>
              <a:rPr lang="en-IN" dirty="0"/>
              <a:t>: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dirty="0"/>
              <a:t>Develop a </a:t>
            </a:r>
            <a:r>
              <a:rPr lang="en-US" b="1" dirty="0"/>
              <a:t>parametric tool</a:t>
            </a:r>
            <a:r>
              <a:rPr lang="en-US" dirty="0"/>
              <a:t> adaptable to different stator sizes and shapes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IN" dirty="0"/>
              <a:t>Integrate with a </a:t>
            </a:r>
            <a:r>
              <a:rPr lang="en-IN" b="1" dirty="0"/>
              <a:t>collaborative robot setup</a:t>
            </a:r>
            <a:r>
              <a:rPr lang="en-IN" dirty="0"/>
              <a:t> (UR10e, gripper, FT sensor).</a:t>
            </a:r>
          </a:p>
          <a:p>
            <a:pPr>
              <a:buClr>
                <a:srgbClr val="97C139"/>
              </a:buClr>
            </a:pPr>
            <a:r>
              <a:rPr lang="en-IN" b="1" dirty="0"/>
              <a:t>Workflow Concept</a:t>
            </a:r>
            <a:r>
              <a:rPr lang="en-IN" dirty="0"/>
              <a:t>: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IN" dirty="0"/>
              <a:t>Slot liner positioning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dirty="0"/>
              <a:t>Orientation with funnel/clamp system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dirty="0"/>
              <a:t>Automated insertion with robotic guidance</a:t>
            </a:r>
          </a:p>
          <a:p>
            <a:pPr>
              <a:buClr>
                <a:srgbClr val="97C139"/>
              </a:buClr>
            </a:pPr>
            <a:r>
              <a:rPr lang="en-IN" b="1" dirty="0"/>
              <a:t>Expected Benefits</a:t>
            </a:r>
            <a:r>
              <a:rPr lang="en-IN" dirty="0"/>
              <a:t>: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IN" dirty="0"/>
              <a:t>Increased precision and repeatability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dirty="0"/>
              <a:t>Reduced labor intensity and errors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dirty="0"/>
              <a:t>Flexibility for small-batch, high-variance manufacturing</a:t>
            </a:r>
            <a:endParaRPr lang="en-IN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D5D0428E-A7CE-9AE6-1A64-FF7B82AF0935}"/>
              </a:ext>
            </a:extLst>
          </p:cNvPr>
          <p:cNvSpPr/>
          <p:nvPr/>
        </p:nvSpPr>
        <p:spPr>
          <a:xfrm>
            <a:off x="1517719" y="5061167"/>
            <a:ext cx="1152128" cy="1008112"/>
          </a:xfrm>
          <a:prstGeom prst="rightArrow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E3751C22-5049-CAC1-733E-F229145AF290}"/>
              </a:ext>
            </a:extLst>
          </p:cNvPr>
          <p:cNvSpPr/>
          <p:nvPr/>
        </p:nvSpPr>
        <p:spPr>
          <a:xfrm>
            <a:off x="3929190" y="5091974"/>
            <a:ext cx="1152128" cy="1008112"/>
          </a:xfrm>
          <a:prstGeom prst="rightArrow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DBDC4B34-689A-79DA-C595-02273530516E}"/>
              </a:ext>
            </a:extLst>
          </p:cNvPr>
          <p:cNvSpPr/>
          <p:nvPr/>
        </p:nvSpPr>
        <p:spPr>
          <a:xfrm>
            <a:off x="6815032" y="5080748"/>
            <a:ext cx="1152128" cy="1008112"/>
          </a:xfrm>
          <a:prstGeom prst="rightArrow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55149FD9-4BC6-CE6A-D7FC-A72CE511D80F}"/>
              </a:ext>
            </a:extLst>
          </p:cNvPr>
          <p:cNvSpPr/>
          <p:nvPr/>
        </p:nvSpPr>
        <p:spPr>
          <a:xfrm>
            <a:off x="9655721" y="5050869"/>
            <a:ext cx="1152128" cy="1008112"/>
          </a:xfrm>
          <a:prstGeom prst="rightArrow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pic>
        <p:nvPicPr>
          <p:cNvPr id="13" name="Picture 12" descr="A close-up of a robotic arm&#10;&#10;AI-generated content may be incorrect.">
            <a:extLst>
              <a:ext uri="{FF2B5EF4-FFF2-40B4-BE49-F238E27FC236}">
                <a16:creationId xmlns:a16="http://schemas.microsoft.com/office/drawing/2014/main" id="{D8EDD7C8-C95E-5DE0-3202-DFDE2BD31B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338" y="4835485"/>
            <a:ext cx="1146100" cy="1316738"/>
          </a:xfrm>
          <a:prstGeom prst="rect">
            <a:avLst/>
          </a:prstGeom>
        </p:spPr>
      </p:pic>
      <p:pic>
        <p:nvPicPr>
          <p:cNvPr id="15" name="Picture 14" descr="A white box with a handle">
            <a:extLst>
              <a:ext uri="{FF2B5EF4-FFF2-40B4-BE49-F238E27FC236}">
                <a16:creationId xmlns:a16="http://schemas.microsoft.com/office/drawing/2014/main" id="{81175E1C-5879-8327-EDAD-1F999314EDA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76" t="4564" r="3428" b="3770"/>
          <a:stretch>
            <a:fillRect/>
          </a:stretch>
        </p:blipFill>
        <p:spPr bwMode="auto">
          <a:xfrm>
            <a:off x="8322643" y="5080748"/>
            <a:ext cx="1189588" cy="94835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8094302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B1342E-72B7-1081-BFDC-36C3DA7B4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4BFB14-7CC6-1F10-37EC-D688976EF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52AF2D2-3757-D164-98FE-DE7E26664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dware Components for Automated Insertion: UR10e Collaborative Robot, RG2 Gripper, and Force/Torque Sensor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C6D1B2-E4E8-FC14-6FA2-54058983F5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731F7DF-9EAE-40AE-48D8-698986C09570}"/>
              </a:ext>
            </a:extLst>
          </p:cNvPr>
          <p:cNvGrpSpPr/>
          <p:nvPr/>
        </p:nvGrpSpPr>
        <p:grpSpPr>
          <a:xfrm>
            <a:off x="3360972" y="1465653"/>
            <a:ext cx="5086348" cy="1800200"/>
            <a:chOff x="3243965" y="2134273"/>
            <a:chExt cx="5086348" cy="180020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991C698-FA38-C276-58E5-22AF6B31971C}"/>
                </a:ext>
              </a:extLst>
            </p:cNvPr>
            <p:cNvGrpSpPr/>
            <p:nvPr/>
          </p:nvGrpSpPr>
          <p:grpSpPr>
            <a:xfrm>
              <a:off x="4180069" y="2134273"/>
              <a:ext cx="4150244" cy="1800200"/>
              <a:chOff x="4553889" y="1699779"/>
              <a:chExt cx="4150244" cy="1800200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7B1ABFD1-7702-E928-36CF-0809830D29DA}"/>
                  </a:ext>
                </a:extLst>
              </p:cNvPr>
              <p:cNvSpPr/>
              <p:nvPr/>
            </p:nvSpPr>
            <p:spPr>
              <a:xfrm>
                <a:off x="4553889" y="1699779"/>
                <a:ext cx="4104456" cy="18002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0C8087C-C1D5-EEE9-FA28-674477CAF911}"/>
                  </a:ext>
                </a:extLst>
              </p:cNvPr>
              <p:cNvSpPr txBox="1"/>
              <p:nvPr/>
            </p:nvSpPr>
            <p:spPr>
              <a:xfrm>
                <a:off x="5665118" y="1898997"/>
                <a:ext cx="3039015" cy="14401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r>
                  <a:rPr lang="en-US" b="1" u="sng" dirty="0"/>
                  <a:t>UR10e </a:t>
                </a:r>
                <a:r>
                  <a:rPr lang="en-US" b="1" u="sng" dirty="0" err="1"/>
                  <a:t>Cobot</a:t>
                </a:r>
                <a:r>
                  <a:rPr lang="en-US" b="1" u="sng" dirty="0"/>
                  <a:t>:</a:t>
                </a:r>
              </a:p>
              <a:p>
                <a:pPr>
                  <a:buClr>
                    <a:srgbClr val="97C139"/>
                  </a:buClr>
                </a:pPr>
                <a:r>
                  <a:rPr lang="en-IN" sz="1200" dirty="0"/>
                  <a:t>Provides precise programmable motion</a:t>
                </a:r>
                <a:br>
                  <a:rPr lang="en-IN" sz="1200" dirty="0"/>
                </a:br>
                <a:r>
                  <a:rPr lang="en-IN" sz="1200" dirty="0"/>
                  <a:t>12.5 kg payload</a:t>
                </a:r>
                <a:br>
                  <a:rPr lang="en-IN" sz="1200" dirty="0"/>
                </a:br>
                <a:r>
                  <a:rPr lang="en-IN" sz="1200" dirty="0"/>
                  <a:t>1300 mm reach</a:t>
                </a:r>
                <a:br>
                  <a:rPr lang="en-IN" sz="1200" dirty="0"/>
                </a:br>
                <a:r>
                  <a:rPr lang="en-IN" sz="1200" dirty="0"/>
                  <a:t>compact and safe</a:t>
                </a:r>
                <a:br>
                  <a:rPr lang="en-IN" sz="1200" dirty="0"/>
                </a:br>
                <a:r>
                  <a:rPr lang="en-IN" sz="1200" dirty="0"/>
                  <a:t>Easily adaptable for flexible manufacturing</a:t>
                </a:r>
                <a:br>
                  <a:rPr lang="en-IN" sz="1200" dirty="0"/>
                </a:br>
                <a:endParaRPr lang="en-IN" sz="1200" dirty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FE38860-B247-775A-FA20-DB5F09347EE7}"/>
                </a:ext>
              </a:extLst>
            </p:cNvPr>
            <p:cNvGrpSpPr/>
            <p:nvPr/>
          </p:nvGrpSpPr>
          <p:grpSpPr>
            <a:xfrm>
              <a:off x="3243965" y="2134273"/>
              <a:ext cx="1872208" cy="1800200"/>
              <a:chOff x="1991544" y="1844824"/>
              <a:chExt cx="1872208" cy="18002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79DF09AF-5980-D5A7-9605-9634F8D06BD1}"/>
                  </a:ext>
                </a:extLst>
              </p:cNvPr>
              <p:cNvSpPr/>
              <p:nvPr/>
            </p:nvSpPr>
            <p:spPr>
              <a:xfrm>
                <a:off x="1991544" y="1844824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17" name="Picture 16" descr="A close-up of a robotic arm&#10;&#10;AI-generated content may be incorrect.">
                <a:extLst>
                  <a:ext uri="{FF2B5EF4-FFF2-40B4-BE49-F238E27FC236}">
                    <a16:creationId xmlns:a16="http://schemas.microsoft.com/office/drawing/2014/main" id="{ABBCF2FB-FCE9-42A8-CCB8-88E91074AF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95939" y="2009066"/>
                <a:ext cx="1474886" cy="1510111"/>
              </a:xfrm>
              <a:prstGeom prst="rect">
                <a:avLst/>
              </a:prstGeom>
            </p:spPr>
          </p:pic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C0DD0CB-5A0D-DEB6-F225-34279B5E5BFF}"/>
              </a:ext>
            </a:extLst>
          </p:cNvPr>
          <p:cNvGrpSpPr/>
          <p:nvPr/>
        </p:nvGrpSpPr>
        <p:grpSpPr>
          <a:xfrm>
            <a:off x="817798" y="3899809"/>
            <a:ext cx="5086348" cy="1800200"/>
            <a:chOff x="817798" y="3899809"/>
            <a:chExt cx="5086348" cy="180020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03EFEDC-7673-3717-41C5-429558B95932}"/>
                </a:ext>
              </a:extLst>
            </p:cNvPr>
            <p:cNvGrpSpPr/>
            <p:nvPr/>
          </p:nvGrpSpPr>
          <p:grpSpPr>
            <a:xfrm>
              <a:off x="817798" y="3899809"/>
              <a:ext cx="5086348" cy="1800200"/>
              <a:chOff x="3243965" y="2134273"/>
              <a:chExt cx="5086348" cy="1800200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260D6AB1-C111-3297-8C46-38B2D06203B6}"/>
                  </a:ext>
                </a:extLst>
              </p:cNvPr>
              <p:cNvGrpSpPr/>
              <p:nvPr/>
            </p:nvGrpSpPr>
            <p:grpSpPr>
              <a:xfrm>
                <a:off x="4180069" y="2134273"/>
                <a:ext cx="4150244" cy="1800200"/>
                <a:chOff x="4553889" y="1699779"/>
                <a:chExt cx="4150244" cy="180020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D4A2AFAF-C98F-E47C-8D37-E547A6AAFC00}"/>
                    </a:ext>
                  </a:extLst>
                </p:cNvPr>
                <p:cNvSpPr/>
                <p:nvPr/>
              </p:nvSpPr>
              <p:spPr>
                <a:xfrm>
                  <a:off x="4553889" y="1699779"/>
                  <a:ext cx="4104456" cy="1800200"/>
                </a:xfrm>
                <a:prstGeom prst="rect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575892CE-A506-751E-50E3-40096830A8D2}"/>
                    </a:ext>
                  </a:extLst>
                </p:cNvPr>
                <p:cNvSpPr txBox="1"/>
                <p:nvPr/>
              </p:nvSpPr>
              <p:spPr>
                <a:xfrm>
                  <a:off x="5665118" y="1898997"/>
                  <a:ext cx="3039015" cy="144016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buClr>
                      <a:srgbClr val="97C139"/>
                    </a:buClr>
                  </a:pPr>
                  <a:r>
                    <a:rPr lang="en-US" b="1" u="sng" dirty="0"/>
                    <a:t>RG2 Gripper: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IN" sz="1200" dirty="0"/>
                    <a:t>Adjustable 2 finger gripper</a:t>
                  </a:r>
                  <a:br>
                    <a:rPr lang="en-IN" sz="1200" dirty="0"/>
                  </a:br>
                  <a:r>
                    <a:rPr lang="en-IN" sz="1200" dirty="0"/>
                    <a:t>110 mm stroke length</a:t>
                  </a:r>
                  <a:br>
                    <a:rPr lang="en-IN" sz="1200" dirty="0"/>
                  </a:br>
                  <a:r>
                    <a:rPr lang="en-IN" sz="1200" dirty="0"/>
                    <a:t>Intelligent grip detection</a:t>
                  </a:r>
                  <a:br>
                    <a:rPr lang="en-IN" sz="1200" dirty="0"/>
                  </a:br>
                  <a:r>
                    <a:rPr lang="en-IN" sz="1200" dirty="0"/>
                    <a:t>Customizable fingertips</a:t>
                  </a:r>
                  <a:br>
                    <a:rPr lang="en-IN" sz="1200" dirty="0"/>
                  </a:br>
                  <a:r>
                    <a:rPr lang="en-IN" sz="1200" dirty="0"/>
                    <a:t>Suitable for secure handling of Slot Liners</a:t>
                  </a:r>
                  <a:br>
                    <a:rPr lang="en-IN" sz="1200" dirty="0"/>
                  </a:br>
                  <a:endParaRPr lang="en-IN" sz="1200" dirty="0"/>
                </a:p>
              </p:txBody>
            </p:sp>
          </p:grp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CF1F0AFB-0BD2-7C88-6AA9-53FCE284E072}"/>
                  </a:ext>
                </a:extLst>
              </p:cNvPr>
              <p:cNvSpPr/>
              <p:nvPr/>
            </p:nvSpPr>
            <p:spPr>
              <a:xfrm>
                <a:off x="3243965" y="2134273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26" name="Picture 25" descr="A close-up of a robot&#10;&#10;AI-generated content may be incorrect.">
              <a:extLst>
                <a:ext uri="{FF2B5EF4-FFF2-40B4-BE49-F238E27FC236}">
                  <a16:creationId xmlns:a16="http://schemas.microsoft.com/office/drawing/2014/main" id="{3E507F3A-10C9-F086-5C3F-BF4F491B63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6670" y="4148759"/>
              <a:ext cx="1238444" cy="1302301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7C09112-50A5-8547-9743-6AFE234AB082}"/>
              </a:ext>
            </a:extLst>
          </p:cNvPr>
          <p:cNvGrpSpPr/>
          <p:nvPr/>
        </p:nvGrpSpPr>
        <p:grpSpPr>
          <a:xfrm>
            <a:off x="6364323" y="3897351"/>
            <a:ext cx="5086348" cy="1800200"/>
            <a:chOff x="6364323" y="3897351"/>
            <a:chExt cx="5086348" cy="1800200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E78CA08-AB11-F9F1-B9E6-F2EC8C7AFE1C}"/>
                </a:ext>
              </a:extLst>
            </p:cNvPr>
            <p:cNvGrpSpPr/>
            <p:nvPr/>
          </p:nvGrpSpPr>
          <p:grpSpPr>
            <a:xfrm>
              <a:off x="6364323" y="3897351"/>
              <a:ext cx="5086348" cy="1800200"/>
              <a:chOff x="3243965" y="2134273"/>
              <a:chExt cx="5086348" cy="1800200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132F171C-3786-B017-1BCB-EF678635DEB6}"/>
                  </a:ext>
                </a:extLst>
              </p:cNvPr>
              <p:cNvGrpSpPr/>
              <p:nvPr/>
            </p:nvGrpSpPr>
            <p:grpSpPr>
              <a:xfrm>
                <a:off x="4180069" y="2134273"/>
                <a:ext cx="4150244" cy="1800200"/>
                <a:chOff x="4553889" y="1699779"/>
                <a:chExt cx="4150244" cy="1800200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EB250A43-22DB-2A84-1703-3C5204FF41BC}"/>
                    </a:ext>
                  </a:extLst>
                </p:cNvPr>
                <p:cNvSpPr/>
                <p:nvPr/>
              </p:nvSpPr>
              <p:spPr>
                <a:xfrm>
                  <a:off x="4553889" y="1699779"/>
                  <a:ext cx="4104456" cy="1800200"/>
                </a:xfrm>
                <a:prstGeom prst="rect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1804ADA1-1338-CB3C-C7E0-FF278CE7507B}"/>
                    </a:ext>
                  </a:extLst>
                </p:cNvPr>
                <p:cNvSpPr txBox="1"/>
                <p:nvPr/>
              </p:nvSpPr>
              <p:spPr>
                <a:xfrm>
                  <a:off x="5665118" y="1898997"/>
                  <a:ext cx="3039015" cy="144016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buClr>
                      <a:srgbClr val="97C139"/>
                    </a:buClr>
                  </a:pPr>
                  <a:r>
                    <a:rPr lang="en-US" b="1" u="sng" dirty="0"/>
                    <a:t>HEX Force-Torque Sensor: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IN" sz="1200" dirty="0"/>
                    <a:t>Real-time force monitoring</a:t>
                  </a:r>
                  <a:br>
                    <a:rPr lang="en-IN" sz="1200" dirty="0"/>
                  </a:br>
                  <a:r>
                    <a:rPr lang="en-IN" sz="1200" dirty="0"/>
                    <a:t>6 axis Force Torque measurement</a:t>
                  </a:r>
                  <a:br>
                    <a:rPr lang="en-IN" sz="1200" dirty="0"/>
                  </a:br>
                  <a:r>
                    <a:rPr lang="en-IN" sz="1200" dirty="0"/>
                    <a:t>Ensures accurate insertion of liner</a:t>
                  </a:r>
                  <a:br>
                    <a:rPr lang="en-IN" sz="1200" dirty="0"/>
                  </a:br>
                  <a:r>
                    <a:rPr lang="en-IN" sz="1200" dirty="0"/>
                    <a:t>Misalignment detection</a:t>
                  </a:r>
                  <a:br>
                    <a:rPr lang="en-IN" sz="1200" dirty="0"/>
                  </a:br>
                  <a:r>
                    <a:rPr lang="en-IN" sz="1200" dirty="0"/>
                    <a:t>Configurable force thresholds</a:t>
                  </a:r>
                </a:p>
                <a:p>
                  <a:pPr>
                    <a:buClr>
                      <a:srgbClr val="97C139"/>
                    </a:buClr>
                  </a:pPr>
                  <a:br>
                    <a:rPr lang="en-IN" sz="1200" dirty="0"/>
                  </a:br>
                  <a:endParaRPr lang="en-IN" sz="1200" dirty="0"/>
                </a:p>
              </p:txBody>
            </p:sp>
          </p:grp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339E629-815B-C412-BDDC-1179D6D77C86}"/>
                  </a:ext>
                </a:extLst>
              </p:cNvPr>
              <p:cNvSpPr/>
              <p:nvPr/>
            </p:nvSpPr>
            <p:spPr>
              <a:xfrm>
                <a:off x="3243965" y="2134273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35" name="Picture 34" descr="A close-up of a robot&#10;&#10;AI-generated content may be incorrect.">
              <a:extLst>
                <a:ext uri="{FF2B5EF4-FFF2-40B4-BE49-F238E27FC236}">
                  <a16:creationId xmlns:a16="http://schemas.microsoft.com/office/drawing/2014/main" id="{207308DB-656A-4FD1-EBE0-6EF659073D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26449" y="4148759"/>
              <a:ext cx="1456380" cy="12543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91093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743531-96FF-9F0A-4CC1-FAE24CD0BF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F7799B9-A33D-8C61-1A46-CDC2783655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3D98E7-660B-DD04-7F16-688765779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5F885D-384E-C75E-A31A-3DA02F02A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chanical Fixtures for Accurate Positioning of Stator, Slot Liner, and Funnel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D9DC25-B43C-62C6-53B4-6049DC4B24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2333043-26FE-BCF4-0278-0770E5DA36FE}"/>
              </a:ext>
            </a:extLst>
          </p:cNvPr>
          <p:cNvGrpSpPr/>
          <p:nvPr/>
        </p:nvGrpSpPr>
        <p:grpSpPr>
          <a:xfrm>
            <a:off x="479376" y="1049410"/>
            <a:ext cx="6881158" cy="2221229"/>
            <a:chOff x="970817" y="851535"/>
            <a:chExt cx="6881158" cy="222122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95E60C4-4FBA-70E0-21CD-68BF62817D4E}"/>
                </a:ext>
              </a:extLst>
            </p:cNvPr>
            <p:cNvSpPr/>
            <p:nvPr/>
          </p:nvSpPr>
          <p:spPr>
            <a:xfrm>
              <a:off x="970817" y="851535"/>
              <a:ext cx="4320481" cy="461033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C34DC51E-5C1C-9E9A-20CA-385EB23426C1}"/>
                </a:ext>
              </a:extLst>
            </p:cNvPr>
            <p:cNvGrpSpPr/>
            <p:nvPr/>
          </p:nvGrpSpPr>
          <p:grpSpPr>
            <a:xfrm>
              <a:off x="970817" y="856870"/>
              <a:ext cx="6881158" cy="2215894"/>
              <a:chOff x="970817" y="836613"/>
              <a:chExt cx="6881158" cy="2215894"/>
            </a:xfrm>
          </p:grpSpPr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20302145-7E04-56E6-0660-17EDC5E3D570}"/>
                  </a:ext>
                </a:extLst>
              </p:cNvPr>
              <p:cNvGrpSpPr/>
              <p:nvPr/>
            </p:nvGrpSpPr>
            <p:grpSpPr>
              <a:xfrm>
                <a:off x="970817" y="836613"/>
                <a:ext cx="6881158" cy="2215894"/>
                <a:chOff x="993476" y="851535"/>
                <a:chExt cx="6881158" cy="2215894"/>
              </a:xfrm>
            </p:grpSpPr>
            <p:grpSp>
              <p:nvGrpSpPr>
                <p:cNvPr id="25" name="Group 24">
                  <a:extLst>
                    <a:ext uri="{FF2B5EF4-FFF2-40B4-BE49-F238E27FC236}">
                      <a16:creationId xmlns:a16="http://schemas.microsoft.com/office/drawing/2014/main" id="{77066EB6-427C-8337-F775-25D34C9715E3}"/>
                    </a:ext>
                  </a:extLst>
                </p:cNvPr>
                <p:cNvGrpSpPr/>
                <p:nvPr/>
              </p:nvGrpSpPr>
              <p:grpSpPr>
                <a:xfrm>
                  <a:off x="993476" y="1169637"/>
                  <a:ext cx="4348510" cy="1897792"/>
                  <a:chOff x="967047" y="1169637"/>
                  <a:chExt cx="4348510" cy="1897792"/>
                </a:xfrm>
              </p:grpSpPr>
              <p:sp>
                <p:nvSpPr>
                  <p:cNvPr id="20" name="TextBox 19">
                    <a:extLst>
                      <a:ext uri="{FF2B5EF4-FFF2-40B4-BE49-F238E27FC236}">
                        <a16:creationId xmlns:a16="http://schemas.microsoft.com/office/drawing/2014/main" id="{0ADC494C-AD81-5163-4A7B-7FEE3C082E0D}"/>
                      </a:ext>
                    </a:extLst>
                  </p:cNvPr>
                  <p:cNvSpPr txBox="1"/>
                  <p:nvPr/>
                </p:nvSpPr>
                <p:spPr>
                  <a:xfrm>
                    <a:off x="1054470" y="1354003"/>
                    <a:ext cx="4261087" cy="360040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noAutofit/>
                  </a:bodyPr>
                  <a:lstStyle/>
                  <a:p>
                    <a:pPr algn="ctr">
                      <a:buClr>
                        <a:srgbClr val="97C139"/>
                      </a:buClr>
                    </a:pPr>
                    <a:r>
                      <a:rPr lang="en-US" b="1" u="sng" dirty="0"/>
                      <a:t>Rotating Mechanical Clamp</a:t>
                    </a:r>
                    <a:endParaRPr lang="en-IN" b="1" u="sng" dirty="0" err="1"/>
                  </a:p>
                </p:txBody>
              </p:sp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345BD6CA-DC11-8DDA-6E24-CAE0BA0BBEE9}"/>
                      </a:ext>
                    </a:extLst>
                  </p:cNvPr>
                  <p:cNvSpPr/>
                  <p:nvPr/>
                </p:nvSpPr>
                <p:spPr>
                  <a:xfrm>
                    <a:off x="967047" y="1169637"/>
                    <a:ext cx="4320481" cy="1897792"/>
                  </a:xfrm>
                  <a:prstGeom prst="rect">
                    <a:avLst/>
                  </a:prstGeom>
                  <a:solidFill>
                    <a:schemeClr val="tx2">
                      <a:lumMod val="20000"/>
                      <a:lumOff val="8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600"/>
                      </a:spcBef>
                    </a:pPr>
                    <a:endParaRPr lang="en-IN" dirty="0" err="1">
                      <a:solidFill>
                        <a:schemeClr val="tx1"/>
                      </a:solidFill>
                    </a:endParaRPr>
                  </a:p>
                </p:txBody>
              </p:sp>
            </p:grpSp>
            <p:pic>
              <p:nvPicPr>
                <p:cNvPr id="23" name="Picture 22" descr="A machine with a circular object&#10;&#10;AI-generated content may be incorrect.">
                  <a:extLst>
                    <a:ext uri="{FF2B5EF4-FFF2-40B4-BE49-F238E27FC236}">
                      <a16:creationId xmlns:a16="http://schemas.microsoft.com/office/drawing/2014/main" id="{E5ED99AB-1422-DAB6-196C-61C5661EDFF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9647" t="36409" r="11580" b="17972"/>
                <a:stretch>
                  <a:fillRect/>
                </a:stretch>
              </p:blipFill>
              <p:spPr bwMode="auto">
                <a:xfrm>
                  <a:off x="5282346" y="851535"/>
                  <a:ext cx="2592288" cy="2215894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>
                  <a:noFill/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</p:grp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B5079677-0229-3A0C-3A7F-0F9729E3B013}"/>
                  </a:ext>
                </a:extLst>
              </p:cNvPr>
              <p:cNvSpPr txBox="1"/>
              <p:nvPr/>
            </p:nvSpPr>
            <p:spPr>
              <a:xfrm>
                <a:off x="1011003" y="881774"/>
                <a:ext cx="4261087" cy="36004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r>
                  <a:rPr lang="en-US" b="1" u="sng" dirty="0"/>
                  <a:t>Rotating Mechanical Clamp</a:t>
                </a:r>
                <a:endParaRPr lang="en-IN" b="1" u="sng" dirty="0" err="1"/>
              </a:p>
            </p:txBody>
          </p:sp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594B1F8-CCC1-497C-CDBB-2DCC3E0146DE}"/>
              </a:ext>
            </a:extLst>
          </p:cNvPr>
          <p:cNvGrpSpPr/>
          <p:nvPr/>
        </p:nvGrpSpPr>
        <p:grpSpPr>
          <a:xfrm>
            <a:off x="4859336" y="3717032"/>
            <a:ext cx="6912767" cy="2376264"/>
            <a:chOff x="4858128" y="3581701"/>
            <a:chExt cx="6912767" cy="2221554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7F80635D-C310-7BA1-4CB6-BF6AB56A0358}"/>
                </a:ext>
              </a:extLst>
            </p:cNvPr>
            <p:cNvGrpSpPr/>
            <p:nvPr/>
          </p:nvGrpSpPr>
          <p:grpSpPr>
            <a:xfrm>
              <a:off x="4858128" y="3581701"/>
              <a:ext cx="6912767" cy="2221554"/>
              <a:chOff x="2525752" y="3724364"/>
              <a:chExt cx="6912767" cy="2221554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AD690B22-BC1B-CED1-8CB0-09C7D178BFB4}"/>
                  </a:ext>
                </a:extLst>
              </p:cNvPr>
              <p:cNvGrpSpPr/>
              <p:nvPr/>
            </p:nvGrpSpPr>
            <p:grpSpPr>
              <a:xfrm>
                <a:off x="2525752" y="3730024"/>
                <a:ext cx="6912767" cy="2215894"/>
                <a:chOff x="2525753" y="3740075"/>
                <a:chExt cx="6912767" cy="2215894"/>
              </a:xfrm>
            </p:grpSpPr>
            <p:pic>
              <p:nvPicPr>
                <p:cNvPr id="15" name="Picture 14" descr="A machine with a mechanical arm&#10;&#10;AI-generated content may be incorrect.">
                  <a:extLst>
                    <a:ext uri="{FF2B5EF4-FFF2-40B4-BE49-F238E27FC236}">
                      <a16:creationId xmlns:a16="http://schemas.microsoft.com/office/drawing/2014/main" id="{E4640BBA-6672-97A8-A9B7-8733E68C16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895" t="1574" r="3869" b="24890"/>
                <a:stretch/>
              </p:blipFill>
              <p:spPr bwMode="auto">
                <a:xfrm>
                  <a:off x="2525753" y="3740075"/>
                  <a:ext cx="2592288" cy="2215894"/>
                </a:xfrm>
                <a:prstGeom prst="rect">
                  <a:avLst/>
                </a:prstGeom>
                <a:ln>
                  <a:noFill/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3E7C5AA2-E307-3821-33F9-9C06EC4BF624}"/>
                    </a:ext>
                  </a:extLst>
                </p:cNvPr>
                <p:cNvSpPr/>
                <p:nvPr/>
              </p:nvSpPr>
              <p:spPr>
                <a:xfrm>
                  <a:off x="5118039" y="4058177"/>
                  <a:ext cx="4320481" cy="1897792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9AE4F478-2883-EBE4-D27E-0F86ADEDBC62}"/>
                  </a:ext>
                </a:extLst>
              </p:cNvPr>
              <p:cNvSpPr/>
              <p:nvPr/>
            </p:nvSpPr>
            <p:spPr>
              <a:xfrm>
                <a:off x="5118038" y="3724364"/>
                <a:ext cx="4320481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44C6AED3-F402-5330-2882-FB29BA706B1F}"/>
                </a:ext>
              </a:extLst>
            </p:cNvPr>
            <p:cNvSpPr txBox="1"/>
            <p:nvPr/>
          </p:nvSpPr>
          <p:spPr>
            <a:xfrm>
              <a:off x="7450414" y="3645024"/>
              <a:ext cx="4320481" cy="3600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buClr>
                  <a:srgbClr val="97C139"/>
                </a:buClr>
              </a:pPr>
              <a:r>
                <a:rPr lang="en-US" b="1" u="sng" dirty="0"/>
                <a:t>Slot Liner and Funnel Positioning Platforms</a:t>
              </a:r>
              <a:endParaRPr lang="en-IN" b="1" u="sng" dirty="0" err="1"/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E18D1A7E-0965-CB46-A9C2-BA737039FF7A}"/>
              </a:ext>
            </a:extLst>
          </p:cNvPr>
          <p:cNvSpPr txBox="1"/>
          <p:nvPr/>
        </p:nvSpPr>
        <p:spPr>
          <a:xfrm>
            <a:off x="566799" y="1510443"/>
            <a:ext cx="4017033" cy="15585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1). User-defined rotation aligns each slot with the funnel for fully automatic insertions.</a:t>
            </a:r>
            <a:br>
              <a:rPr lang="en-US" dirty="0"/>
            </a:br>
            <a:r>
              <a:rPr lang="en-US" dirty="0"/>
              <a:t>2). Servo Motor + Siemens S7-1500 PLC - Provides precise, deterministic low-level motion control.</a:t>
            </a:r>
            <a:br>
              <a:rPr lang="en-US" dirty="0"/>
            </a:br>
            <a:r>
              <a:rPr lang="en-US" dirty="0"/>
              <a:t>3). Manual origin calibration, stop-rotation function for safety, collision avoidance, and adaptability</a:t>
            </a:r>
            <a:br>
              <a:rPr lang="en-US" dirty="0"/>
            </a:b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1E5C033-37E8-DCFE-9551-00EC77DFD86C}"/>
              </a:ext>
            </a:extLst>
          </p:cNvPr>
          <p:cNvSpPr txBox="1"/>
          <p:nvPr/>
        </p:nvSpPr>
        <p:spPr>
          <a:xfrm>
            <a:off x="7536160" y="4140395"/>
            <a:ext cx="4155182" cy="17981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1). Secure, repeatable positioning for insertion tool and slot liners </a:t>
            </a:r>
            <a:br>
              <a:rPr lang="en-US" dirty="0"/>
            </a:br>
            <a:r>
              <a:rPr lang="en-US" dirty="0"/>
              <a:t>2). Quickly accommodates different stator or slot liner geometries with minimal downtime.</a:t>
            </a:r>
            <a:br>
              <a:rPr lang="en-US" dirty="0"/>
            </a:br>
            <a:r>
              <a:rPr lang="en-US" dirty="0"/>
              <a:t>3). Ensures accurate robot grasping, reducing misalignment and improving repeatability.</a:t>
            </a:r>
            <a:br>
              <a:rPr lang="en-US" dirty="0"/>
            </a:br>
            <a:r>
              <a:rPr lang="en-US" dirty="0"/>
              <a:t>4). Enhances workflow efficiency in small-batch or high-mix production while maintaining precision.</a:t>
            </a:r>
            <a:br>
              <a:rPr lang="en-US" dirty="0"/>
            </a:b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7382546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C6E998-26B2-CD00-4362-CAD778D286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B1C122-AE76-8C3B-E8A7-CDBE45B4D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727B32C-2FC4-0DC8-A29E-D0E4FA9D2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ric Tool Development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2FC13D-6B44-2C1B-16F9-828571227B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E31382-22AC-DB68-8530-6D146BA481CF}"/>
              </a:ext>
            </a:extLst>
          </p:cNvPr>
          <p:cNvSpPr txBox="1"/>
          <p:nvPr/>
        </p:nvSpPr>
        <p:spPr>
          <a:xfrm>
            <a:off x="983432" y="836613"/>
            <a:ext cx="1872208" cy="3600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Design Considerations</a:t>
            </a:r>
            <a:endParaRPr lang="en-IN" dirty="0" err="1"/>
          </a:p>
        </p:txBody>
      </p:sp>
      <p:pic>
        <p:nvPicPr>
          <p:cNvPr id="8" name="Picture 7" descr="A diagram of a slot angle&#10;&#10;AI-generated content may be incorrect.">
            <a:extLst>
              <a:ext uri="{FF2B5EF4-FFF2-40B4-BE49-F238E27FC236}">
                <a16:creationId xmlns:a16="http://schemas.microsoft.com/office/drawing/2014/main" id="{9E5CE361-6983-C5FE-EB1F-67B9C3A3532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1824" y="1229199"/>
            <a:ext cx="3316605" cy="3783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0287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4042DD-BE03-1B8F-1D44-2648C72326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846E61-04E0-05E6-C2E4-8D6EA533A2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9E54DA-8805-884A-9AF3-3C950B83E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itial Design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EA5C9F-E815-3405-8ACE-6A607ECB96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A72A9E2-5A74-3B3A-20B3-1359A6A88195}"/>
              </a:ext>
            </a:extLst>
          </p:cNvPr>
          <p:cNvGrpSpPr/>
          <p:nvPr/>
        </p:nvGrpSpPr>
        <p:grpSpPr>
          <a:xfrm>
            <a:off x="1165388" y="1340768"/>
            <a:ext cx="4826000" cy="4123403"/>
            <a:chOff x="0" y="0"/>
            <a:chExt cx="4826000" cy="4089831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0F27E9E-2D69-C40C-0F7C-6BE6809DD192}"/>
                </a:ext>
              </a:extLst>
            </p:cNvPr>
            <p:cNvGrpSpPr/>
            <p:nvPr/>
          </p:nvGrpSpPr>
          <p:grpSpPr>
            <a:xfrm>
              <a:off x="0" y="0"/>
              <a:ext cx="1803400" cy="1701044"/>
              <a:chOff x="0" y="0"/>
              <a:chExt cx="1803400" cy="1701044"/>
            </a:xfrm>
          </p:grpSpPr>
          <p:sp>
            <p:nvSpPr>
              <p:cNvPr id="19" name="Text Box 2">
                <a:extLst>
                  <a:ext uri="{FF2B5EF4-FFF2-40B4-BE49-F238E27FC236}">
                    <a16:creationId xmlns:a16="http://schemas.microsoft.com/office/drawing/2014/main" id="{2BE3307B-652C-A2C8-9F30-87CA9B750C7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92100" y="1384300"/>
                <a:ext cx="1289297" cy="316744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IN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a) Front view</a:t>
                </a:r>
              </a:p>
            </p:txBody>
          </p:sp>
          <p:pic>
            <p:nvPicPr>
              <p:cNvPr id="20" name="Picture 19" descr="A white object with a rectangular object&#10;&#10;AI-generated content may be incorrect.">
                <a:extLst>
                  <a:ext uri="{FF2B5EF4-FFF2-40B4-BE49-F238E27FC236}">
                    <a16:creationId xmlns:a16="http://schemas.microsoft.com/office/drawing/2014/main" id="{CFD9BAE3-DCED-D044-9212-D2949606981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701" t="6085" r="6793" b="6129"/>
              <a:stretch>
                <a:fillRect/>
              </a:stretch>
            </p:blipFill>
            <p:spPr bwMode="auto">
              <a:xfrm>
                <a:off x="0" y="0"/>
                <a:ext cx="1803400" cy="1373505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59761C-F870-2BEA-BE2E-EE9A8646348F}"/>
                </a:ext>
              </a:extLst>
            </p:cNvPr>
            <p:cNvGrpSpPr/>
            <p:nvPr/>
          </p:nvGrpSpPr>
          <p:grpSpPr>
            <a:xfrm>
              <a:off x="3022600" y="38100"/>
              <a:ext cx="1803400" cy="1708351"/>
              <a:chOff x="0" y="0"/>
              <a:chExt cx="1803400" cy="1708351"/>
            </a:xfrm>
          </p:grpSpPr>
          <p:sp>
            <p:nvSpPr>
              <p:cNvPr id="17" name="Text Box 2">
                <a:extLst>
                  <a:ext uri="{FF2B5EF4-FFF2-40B4-BE49-F238E27FC236}">
                    <a16:creationId xmlns:a16="http://schemas.microsoft.com/office/drawing/2014/main" id="{66DF60BD-B538-8301-128F-336E20D712E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0200" y="1358900"/>
                <a:ext cx="1137144" cy="349451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IN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b) Rear view</a:t>
                </a:r>
              </a:p>
            </p:txBody>
          </p:sp>
          <p:pic>
            <p:nvPicPr>
              <p:cNvPr id="18" name="Picture 17" descr="A drawing of a grey object&#10;&#10;AI-generated content may be incorrect.">
                <a:extLst>
                  <a:ext uri="{FF2B5EF4-FFF2-40B4-BE49-F238E27FC236}">
                    <a16:creationId xmlns:a16="http://schemas.microsoft.com/office/drawing/2014/main" id="{A9F322BA-E6FF-07AC-A514-5390DA0A643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382" t="5063" r="7296" b="6329"/>
              <a:stretch>
                <a:fillRect/>
              </a:stretch>
            </p:blipFill>
            <p:spPr bwMode="auto">
              <a:xfrm>
                <a:off x="0" y="0"/>
                <a:ext cx="1803400" cy="1333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66DA0BD-D5A6-7804-4213-4715A7171C9F}"/>
                </a:ext>
              </a:extLst>
            </p:cNvPr>
            <p:cNvGrpSpPr/>
            <p:nvPr/>
          </p:nvGrpSpPr>
          <p:grpSpPr>
            <a:xfrm>
              <a:off x="178084" y="2285754"/>
              <a:ext cx="2012950" cy="1804077"/>
              <a:chOff x="44734" y="164868"/>
              <a:chExt cx="2012950" cy="1804229"/>
            </a:xfrm>
          </p:grpSpPr>
          <p:sp>
            <p:nvSpPr>
              <p:cNvPr id="15" name="Text Box 2">
                <a:extLst>
                  <a:ext uri="{FF2B5EF4-FFF2-40B4-BE49-F238E27FC236}">
                    <a16:creationId xmlns:a16="http://schemas.microsoft.com/office/drawing/2014/main" id="{F2DCE7E9-DB0C-06BE-06F9-173C7BFA803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63215" y="1473324"/>
                <a:ext cx="1104900" cy="495773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IN" sz="120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c) Side view</a:t>
                </a:r>
              </a:p>
            </p:txBody>
          </p:sp>
          <p:pic>
            <p:nvPicPr>
              <p:cNvPr id="16" name="Picture 15" descr="A grey rectangular object with a white background&#10;&#10;AI-generated content may be incorrect.">
                <a:extLst>
                  <a:ext uri="{FF2B5EF4-FFF2-40B4-BE49-F238E27FC236}">
                    <a16:creationId xmlns:a16="http://schemas.microsoft.com/office/drawing/2014/main" id="{5956A7E0-8F8A-B7AA-D9A0-06A37FE618F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104" t="9955" r="1745" b="2262"/>
              <a:stretch>
                <a:fillRect/>
              </a:stretch>
            </p:blipFill>
            <p:spPr bwMode="auto">
              <a:xfrm>
                <a:off x="44734" y="164868"/>
                <a:ext cx="2012950" cy="12319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A464F24-AAB1-78E8-E41B-3444723A4162}"/>
                </a:ext>
              </a:extLst>
            </p:cNvPr>
            <p:cNvGrpSpPr/>
            <p:nvPr/>
          </p:nvGrpSpPr>
          <p:grpSpPr>
            <a:xfrm>
              <a:off x="3206750" y="1784350"/>
              <a:ext cx="1568450" cy="2196465"/>
              <a:chOff x="0" y="0"/>
              <a:chExt cx="1568450" cy="2196465"/>
            </a:xfrm>
          </p:grpSpPr>
          <p:pic>
            <p:nvPicPr>
              <p:cNvPr id="13" name="Picture 12" descr="A drawing of a rectangular object&#10;&#10;AI-generated content may be incorrect.">
                <a:extLst>
                  <a:ext uri="{FF2B5EF4-FFF2-40B4-BE49-F238E27FC236}">
                    <a16:creationId xmlns:a16="http://schemas.microsoft.com/office/drawing/2014/main" id="{C84D9A89-4BF3-595C-8E58-4FD4405F06E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1" t="2033" r="3694" b="4069"/>
              <a:stretch>
                <a:fillRect/>
              </a:stretch>
            </p:blipFill>
            <p:spPr bwMode="auto">
              <a:xfrm>
                <a:off x="0" y="0"/>
                <a:ext cx="1568450" cy="17589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4" name="Text Box 2">
                <a:extLst>
                  <a:ext uri="{FF2B5EF4-FFF2-40B4-BE49-F238E27FC236}">
                    <a16:creationId xmlns:a16="http://schemas.microsoft.com/office/drawing/2014/main" id="{BD03F64F-7564-925D-57F1-81E9FB23CA7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23850" y="1809750"/>
                <a:ext cx="98425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d) Top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404834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97F26B0-55AC-112A-8C8B-4457D5A30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CD9E08-1FE5-9424-D17B-C461D03AB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2A91BB-6A33-25AF-3C86-7E636F2C8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Design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C2ED4F-F9DD-9762-C410-9AEA05105A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E2671E7-302A-E53B-83C6-06FBB1EA3DF9}"/>
              </a:ext>
            </a:extLst>
          </p:cNvPr>
          <p:cNvGrpSpPr/>
          <p:nvPr/>
        </p:nvGrpSpPr>
        <p:grpSpPr>
          <a:xfrm>
            <a:off x="3155315" y="750570"/>
            <a:ext cx="5881370" cy="4525700"/>
            <a:chOff x="242454" y="0"/>
            <a:chExt cx="5882412" cy="5092796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D2086E9-C913-1A7A-13F5-BA562B94E083}"/>
                </a:ext>
              </a:extLst>
            </p:cNvPr>
            <p:cNvGrpSpPr/>
            <p:nvPr/>
          </p:nvGrpSpPr>
          <p:grpSpPr>
            <a:xfrm>
              <a:off x="242454" y="46648"/>
              <a:ext cx="1701800" cy="1718653"/>
              <a:chOff x="270499" y="-32787"/>
              <a:chExt cx="1898650" cy="1906793"/>
            </a:xfrm>
          </p:grpSpPr>
          <p:pic>
            <p:nvPicPr>
              <p:cNvPr id="22" name="Picture 21" descr="A white object with a curved section&#10;&#10;AI-generated content may be incorrect.">
                <a:extLst>
                  <a:ext uri="{FF2B5EF4-FFF2-40B4-BE49-F238E27FC236}">
                    <a16:creationId xmlns:a16="http://schemas.microsoft.com/office/drawing/2014/main" id="{51C65056-BD67-8241-3097-2DDB99BA20C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55" t="2954" r="4864"/>
              <a:stretch>
                <a:fillRect/>
              </a:stretch>
            </p:blipFill>
            <p:spPr bwMode="auto">
              <a:xfrm>
                <a:off x="270499" y="-32787"/>
                <a:ext cx="1898650" cy="1460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23" name="Text Box 2">
                <a:extLst>
                  <a:ext uri="{FF2B5EF4-FFF2-40B4-BE49-F238E27FC236}">
                    <a16:creationId xmlns:a16="http://schemas.microsoft.com/office/drawing/2014/main" id="{FFCEC5C0-F9E5-080C-A615-054CE860CAE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68051" y="1487291"/>
                <a:ext cx="1275213" cy="3867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a) Front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FB1AE47-30F2-B200-7AA7-C8ECD8C57C69}"/>
                </a:ext>
              </a:extLst>
            </p:cNvPr>
            <p:cNvGrpSpPr/>
            <p:nvPr/>
          </p:nvGrpSpPr>
          <p:grpSpPr>
            <a:xfrm>
              <a:off x="4102100" y="0"/>
              <a:ext cx="1657350" cy="1765300"/>
              <a:chOff x="0" y="0"/>
              <a:chExt cx="1911350" cy="2030412"/>
            </a:xfrm>
          </p:grpSpPr>
          <p:pic>
            <p:nvPicPr>
              <p:cNvPr id="20" name="Picture 19" descr="A white object with a zipper&#10;&#10;AI-generated content may be incorrect.">
                <a:extLst>
                  <a:ext uri="{FF2B5EF4-FFF2-40B4-BE49-F238E27FC236}">
                    <a16:creationId xmlns:a16="http://schemas.microsoft.com/office/drawing/2014/main" id="{E5142808-649E-814F-7BA1-F282F9749AF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794" r="3925"/>
              <a:stretch>
                <a:fillRect/>
              </a:stretch>
            </p:blipFill>
            <p:spPr bwMode="auto">
              <a:xfrm>
                <a:off x="0" y="0"/>
                <a:ext cx="1911350" cy="1581151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21" name="Text Box 2">
                <a:extLst>
                  <a:ext uri="{FF2B5EF4-FFF2-40B4-BE49-F238E27FC236}">
                    <a16:creationId xmlns:a16="http://schemas.microsoft.com/office/drawing/2014/main" id="{C15FA9EE-A193-E20E-628F-E9316F7D3F0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44189" y="1643696"/>
                <a:ext cx="1307273" cy="386716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b) Rear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970E221-2131-9291-4BE3-96981073C1D1}"/>
                </a:ext>
              </a:extLst>
            </p:cNvPr>
            <p:cNvGrpSpPr/>
            <p:nvPr/>
          </p:nvGrpSpPr>
          <p:grpSpPr>
            <a:xfrm>
              <a:off x="2400316" y="402071"/>
              <a:ext cx="1295400" cy="2931045"/>
              <a:chOff x="133366" y="-61479"/>
              <a:chExt cx="1295400" cy="2931045"/>
            </a:xfrm>
          </p:grpSpPr>
          <p:pic>
            <p:nvPicPr>
              <p:cNvPr id="18" name="Picture 17" descr="A white rectangular object with black lines&#10;&#10;AI-generated content may be incorrect.">
                <a:extLst>
                  <a:ext uri="{FF2B5EF4-FFF2-40B4-BE49-F238E27FC236}">
                    <a16:creationId xmlns:a16="http://schemas.microsoft.com/office/drawing/2014/main" id="{A8D75E44-8F94-A576-5982-32848275BD2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068" r="2712"/>
              <a:stretch>
                <a:fillRect/>
              </a:stretch>
            </p:blipFill>
            <p:spPr bwMode="auto">
              <a:xfrm>
                <a:off x="133366" y="-61479"/>
                <a:ext cx="1295400" cy="24320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9" name="Text Box 2">
                <a:extLst>
                  <a:ext uri="{FF2B5EF4-FFF2-40B4-BE49-F238E27FC236}">
                    <a16:creationId xmlns:a16="http://schemas.microsoft.com/office/drawing/2014/main" id="{399F3748-58C7-E3B1-AAEA-FF07166FBEA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8876" y="2482851"/>
                <a:ext cx="96520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c) Top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46E5ABD-6FA6-ED69-902A-CE87B234CE48}"/>
                </a:ext>
              </a:extLst>
            </p:cNvPr>
            <p:cNvGrpSpPr/>
            <p:nvPr/>
          </p:nvGrpSpPr>
          <p:grpSpPr>
            <a:xfrm>
              <a:off x="390236" y="3483952"/>
              <a:ext cx="2432050" cy="1573250"/>
              <a:chOff x="390236" y="29552"/>
              <a:chExt cx="2432050" cy="1573250"/>
            </a:xfrm>
          </p:grpSpPr>
          <p:pic>
            <p:nvPicPr>
              <p:cNvPr id="16" name="Picture 15" descr="A white rectangular object with a white background&#10;&#10;AI-generated content may be incorrect.">
                <a:extLst>
                  <a:ext uri="{FF2B5EF4-FFF2-40B4-BE49-F238E27FC236}">
                    <a16:creationId xmlns:a16="http://schemas.microsoft.com/office/drawing/2014/main" id="{2269A3DD-C6BA-8693-4BFE-A72F1814DFE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292" t="3930"/>
              <a:stretch>
                <a:fillRect/>
              </a:stretch>
            </p:blipFill>
            <p:spPr bwMode="auto">
              <a:xfrm>
                <a:off x="390236" y="29552"/>
                <a:ext cx="2432050" cy="10223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7" name="Text Box 2">
                <a:extLst>
                  <a:ext uri="{FF2B5EF4-FFF2-40B4-BE49-F238E27FC236}">
                    <a16:creationId xmlns:a16="http://schemas.microsoft.com/office/drawing/2014/main" id="{49FD4F38-CD95-685E-8DB5-2D6F8476BA5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22564" y="1216087"/>
                <a:ext cx="107315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d) Side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25F678F-C2C0-53EC-9B8F-814725A2B024}"/>
                </a:ext>
              </a:extLst>
            </p:cNvPr>
            <p:cNvGrpSpPr/>
            <p:nvPr/>
          </p:nvGrpSpPr>
          <p:grpSpPr>
            <a:xfrm>
              <a:off x="4029366" y="2701800"/>
              <a:ext cx="2095500" cy="2390996"/>
              <a:chOff x="41566" y="-339850"/>
              <a:chExt cx="2095500" cy="2390996"/>
            </a:xfrm>
          </p:grpSpPr>
          <p:pic>
            <p:nvPicPr>
              <p:cNvPr id="14" name="Picture 13" descr="A white box with a handle">
                <a:extLst>
                  <a:ext uri="{FF2B5EF4-FFF2-40B4-BE49-F238E27FC236}">
                    <a16:creationId xmlns:a16="http://schemas.microsoft.com/office/drawing/2014/main" id="{5C189384-6F99-6426-EE77-A1D5F994C52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1576" t="4564" r="3428" b="3770"/>
              <a:stretch>
                <a:fillRect/>
              </a:stretch>
            </p:blipFill>
            <p:spPr bwMode="auto">
              <a:xfrm>
                <a:off x="41566" y="-339850"/>
                <a:ext cx="2095500" cy="1879599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5" name="Text Box 2">
                <a:extLst>
                  <a:ext uri="{FF2B5EF4-FFF2-40B4-BE49-F238E27FC236}">
                    <a16:creationId xmlns:a16="http://schemas.microsoft.com/office/drawing/2014/main" id="{A724CF4A-7607-9BC6-F75C-E95C03A8583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47783" y="1664431"/>
                <a:ext cx="133350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e) Isometric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864030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62100FD-7E51-E42F-76D0-9CDCD1D22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AF87AF-F4B9-0F61-6E6F-11F9E4DA05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8535738-7BC8-9C78-B3F4-70242F40C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ertion Pipeline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1A9EC5-A504-6526-2307-3781255BCC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7" name="Picture 6" descr="A diagram of a flowchart&#10;&#10;AI-generated content may be incorrect.">
            <a:extLst>
              <a:ext uri="{FF2B5EF4-FFF2-40B4-BE49-F238E27FC236}">
                <a16:creationId xmlns:a16="http://schemas.microsoft.com/office/drawing/2014/main" id="{81793692-F993-5E7B-C0C9-D9527F4A04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695" y="476672"/>
            <a:ext cx="6383114" cy="6082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2227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273046-F2C0-0371-2276-8D47B0605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460A87-97F1-F0B1-63AB-842D3BFF4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4EB8A6-0775-DAB2-A8F7-C038AFF48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ion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A9A945-A02D-18E0-C484-3FFD157573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114CC8-9646-1D23-DE2F-2D0C1B73D72D}"/>
              </a:ext>
            </a:extLst>
          </p:cNvPr>
          <p:cNvSpPr txBox="1"/>
          <p:nvPr/>
        </p:nvSpPr>
        <p:spPr>
          <a:xfrm>
            <a:off x="911424" y="1052736"/>
            <a:ext cx="5400600" cy="10081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3 different Stators and 3 Funnels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16416728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917B1AA-C77C-27E6-39CB-CA8053A608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3164C1-7FC7-AFD7-B1B0-FC586C345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D745CB-DE04-D4A4-ADC4-F5F57E7CC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ing Results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EEF9AA-249A-39F1-3402-844F85EF02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4F534B3-1C00-859C-ADC5-3C9DACB270F8}"/>
              </a:ext>
            </a:extLst>
          </p:cNvPr>
          <p:cNvGrpSpPr/>
          <p:nvPr/>
        </p:nvGrpSpPr>
        <p:grpSpPr>
          <a:xfrm>
            <a:off x="4194175" y="1028383"/>
            <a:ext cx="3371850" cy="4704873"/>
            <a:chOff x="0" y="0"/>
            <a:chExt cx="3371850" cy="4274185"/>
          </a:xfrm>
        </p:grpSpPr>
        <p:graphicFrame>
          <p:nvGraphicFramePr>
            <p:cNvPr id="10" name="Diagramm 6">
              <a:extLst>
                <a:ext uri="{FF2B5EF4-FFF2-40B4-BE49-F238E27FC236}">
                  <a16:creationId xmlns:a16="http://schemas.microsoft.com/office/drawing/2014/main" id="{0253F660-458D-4F42-80D7-A78F30A724B0}"/>
                </a:ext>
              </a:extLst>
            </p:cNvPr>
            <p:cNvGraphicFramePr/>
            <p:nvPr/>
          </p:nvGraphicFramePr>
          <p:xfrm>
            <a:off x="0" y="0"/>
            <a:ext cx="3371850" cy="20828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11" name="Diagramm 7">
              <a:extLst>
                <a:ext uri="{FF2B5EF4-FFF2-40B4-BE49-F238E27FC236}">
                  <a16:creationId xmlns:a16="http://schemas.microsoft.com/office/drawing/2014/main" id="{A15C92F9-108B-471E-9437-85FDD8FAFEF4}"/>
                </a:ext>
              </a:extLst>
            </p:cNvPr>
            <p:cNvGraphicFramePr/>
            <p:nvPr/>
          </p:nvGraphicFramePr>
          <p:xfrm>
            <a:off x="95250" y="2254250"/>
            <a:ext cx="3219450" cy="201993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2080551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4463AB8-0E80-7315-C8B2-020A57E5CE8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4AFF1CF-4154-3F9C-66DF-AFB67BB1ED2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2000" dirty="0"/>
              <a:t>Development of A Parametric Tool for Automated </a:t>
            </a:r>
            <a:br>
              <a:rPr lang="en-IN" sz="2000" dirty="0"/>
            </a:br>
            <a:r>
              <a:rPr lang="de-DE" sz="2000" dirty="0"/>
              <a:t>Slot Insulation Insertion in Small-Scale Electric-</a:t>
            </a:r>
            <a:br>
              <a:rPr lang="en-IN" sz="2000" dirty="0"/>
            </a:br>
            <a:r>
              <a:rPr lang="de-DE" sz="2000" dirty="0"/>
              <a:t>Motor Stator Production</a:t>
            </a:r>
            <a:br>
              <a:rPr lang="en-IN" dirty="0"/>
            </a:br>
            <a:endParaRPr lang="de-DE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FC6F32F7-AB9D-997A-EF60-A4D95D5498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3474" y="5589240"/>
            <a:ext cx="6408738" cy="830997"/>
          </a:xfrm>
        </p:spPr>
        <p:txBody>
          <a:bodyPr/>
          <a:lstStyle/>
          <a:p>
            <a:r>
              <a:rPr lang="de-DE" dirty="0"/>
              <a:t>Alen Sebastian 23221507 (M Sc Electromobility)</a:t>
            </a:r>
          </a:p>
          <a:p>
            <a:r>
              <a:rPr lang="de-DE" dirty="0"/>
              <a:t>Project Thesis Presentation</a:t>
            </a:r>
          </a:p>
        </p:txBody>
      </p:sp>
    </p:spTree>
    <p:extLst>
      <p:ext uri="{BB962C8B-B14F-4D97-AF65-F5344CB8AC3E}">
        <p14:creationId xmlns:p14="http://schemas.microsoft.com/office/powerpoint/2010/main" val="3382627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02458F-E77E-0D4A-39D6-C706AC8F54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653F3D-D03F-DA15-4E66-187D4E094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0E268DF-A79C-5C80-2D11-5EEA70B8F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rror Rates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E6E2BE-478A-5E9F-5276-202C3215D4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9F7C5CD-1C76-4240-BAB0-D399EC8CD8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1310729"/>
              </p:ext>
            </p:extLst>
          </p:nvPr>
        </p:nvGraphicFramePr>
        <p:xfrm>
          <a:off x="4655840" y="1356384"/>
          <a:ext cx="3089910" cy="2044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Diagramm 4">
            <a:extLst>
              <a:ext uri="{FF2B5EF4-FFF2-40B4-BE49-F238E27FC236}">
                <a16:creationId xmlns:a16="http://schemas.microsoft.com/office/drawing/2014/main" id="{E4A7E200-73C6-423A-BAFD-5FD3EB1054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5276028"/>
              </p:ext>
            </p:extLst>
          </p:nvPr>
        </p:nvGraphicFramePr>
        <p:xfrm>
          <a:off x="4655840" y="3645024"/>
          <a:ext cx="3089910" cy="2095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713785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1FEA23-A117-C9AD-D293-86B0871E6C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CE911C-B860-7899-9FF2-5F3CC0567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9B6834-8CCC-8947-F069-E6CEF3478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C8DACB-7CB4-08D9-C9BC-8942D27F08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69C6F8A-C836-4D39-5E8D-CAE83597FB29}"/>
              </a:ext>
            </a:extLst>
          </p:cNvPr>
          <p:cNvSpPr txBox="1"/>
          <p:nvPr/>
        </p:nvSpPr>
        <p:spPr>
          <a:xfrm>
            <a:off x="911424" y="1196752"/>
            <a:ext cx="8352928" cy="23762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[1] IEA (2025), Global electric car sales, 2014-2024, IEA, Paris</a:t>
            </a:r>
          </a:p>
          <a:p>
            <a:pPr>
              <a:buClr>
                <a:srgbClr val="97C139"/>
              </a:buClr>
            </a:pPr>
            <a:r>
              <a:rPr lang="en-US" dirty="0"/>
              <a:t> https://www.iea.org/data-and-statistics/charts/global-electric-car-sales-2014-2024, </a:t>
            </a:r>
            <a:r>
              <a:rPr lang="en-US" dirty="0" err="1"/>
              <a:t>Licence</a:t>
            </a:r>
            <a:r>
              <a:rPr lang="en-US" dirty="0"/>
              <a:t>: CC BY 4.0</a:t>
            </a:r>
          </a:p>
          <a:p>
            <a:pPr>
              <a:buClr>
                <a:srgbClr val="97C139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r>
              <a:rPr lang="en-US" b="1" dirty="0"/>
              <a:t>Joining of the Laminated Electrical Steels in Motor Manufacturing: A Review </a:t>
            </a:r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23587913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4">
            <a:extLst>
              <a:ext uri="{FF2B5EF4-FFF2-40B4-BE49-F238E27FC236}">
                <a16:creationId xmlns:a16="http://schemas.microsoft.com/office/drawing/2014/main" id="{56BAA965-7E81-4A4D-87C3-63687EF96BB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6" b="12506"/>
          <a:stretch/>
        </p:blipFill>
        <p:spPr/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01D12A-1847-C90D-4DEA-953A1B3EAC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E19446-6834-469B-9EC8-26E884D32306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F0D112F-D621-3214-DF21-01467776E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2C798EC-4EF0-9D27-25CA-F6EEB8649A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7390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Rechteck 116"/>
          <p:cNvSpPr/>
          <p:nvPr/>
        </p:nvSpPr>
        <p:spPr>
          <a:xfrm>
            <a:off x="4229602" y="3568903"/>
            <a:ext cx="2998713" cy="24505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inien</a:t>
            </a:r>
            <a:r>
              <a:rPr lang="en-US" dirty="0"/>
              <a:t> </a:t>
            </a:r>
            <a:r>
              <a:rPr lang="en-US" dirty="0" err="1"/>
              <a:t>etc</a:t>
            </a:r>
            <a:endParaRPr lang="en-US" dirty="0"/>
          </a:p>
        </p:txBody>
      </p:sp>
      <p:sp>
        <p:nvSpPr>
          <p:cNvPr id="29" name="Oval 8"/>
          <p:cNvSpPr/>
          <p:nvPr/>
        </p:nvSpPr>
        <p:spPr>
          <a:xfrm>
            <a:off x="3753676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2" name="Textfeld 8"/>
          <p:cNvSpPr txBox="1"/>
          <p:nvPr/>
        </p:nvSpPr>
        <p:spPr>
          <a:xfrm>
            <a:off x="3685272" y="1927666"/>
            <a:ext cx="819671" cy="276999"/>
          </a:xfrm>
          <a:prstGeom prst="rect">
            <a:avLst/>
          </a:prstGeom>
          <a:solidFill>
            <a:srgbClr val="C5DE89"/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900" dirty="0" err="1">
                <a:latin typeface="+mn-lt"/>
              </a:rPr>
              <a:t>Projektvergleich</a:t>
            </a:r>
            <a:r>
              <a:rPr lang="en-US" sz="900" dirty="0">
                <a:latin typeface="+mn-lt"/>
              </a:rPr>
              <a:t> </a:t>
            </a:r>
            <a:r>
              <a:rPr lang="en-US" sz="900" dirty="0" err="1">
                <a:latin typeface="+mn-lt"/>
              </a:rPr>
              <a:t>starten</a:t>
            </a:r>
            <a:endParaRPr lang="en-US" sz="900" dirty="0">
              <a:latin typeface="+mn-lt"/>
            </a:endParaRPr>
          </a:p>
        </p:txBody>
      </p:sp>
      <p:sp>
        <p:nvSpPr>
          <p:cNvPr id="34" name="Textfeld 8"/>
          <p:cNvSpPr txBox="1"/>
          <p:nvPr/>
        </p:nvSpPr>
        <p:spPr>
          <a:xfrm>
            <a:off x="4677358" y="1856067"/>
            <a:ext cx="819671" cy="276999"/>
          </a:xfrm>
          <a:prstGeom prst="rect">
            <a:avLst/>
          </a:prstGeom>
          <a:solidFill>
            <a:srgbClr val="C5DE89"/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900" dirty="0" err="1">
                <a:latin typeface="+mn-lt"/>
              </a:rPr>
              <a:t>Projektvergleich</a:t>
            </a:r>
            <a:r>
              <a:rPr lang="en-US" sz="900" dirty="0">
                <a:latin typeface="+mn-lt"/>
              </a:rPr>
              <a:t> </a:t>
            </a:r>
            <a:r>
              <a:rPr lang="en-US" sz="900" dirty="0" err="1">
                <a:latin typeface="+mn-lt"/>
              </a:rPr>
              <a:t>starten</a:t>
            </a:r>
            <a:endParaRPr lang="en-US" sz="900" dirty="0">
              <a:latin typeface="+mn-lt"/>
            </a:endParaRPr>
          </a:p>
        </p:txBody>
      </p:sp>
      <p:sp>
        <p:nvSpPr>
          <p:cNvPr id="35" name="Oval 14"/>
          <p:cNvSpPr/>
          <p:nvPr/>
        </p:nvSpPr>
        <p:spPr>
          <a:xfrm>
            <a:off x="3976065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Oval 16"/>
          <p:cNvSpPr/>
          <p:nvPr/>
        </p:nvSpPr>
        <p:spPr>
          <a:xfrm>
            <a:off x="4643232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Oval 17"/>
          <p:cNvSpPr/>
          <p:nvPr/>
        </p:nvSpPr>
        <p:spPr>
          <a:xfrm>
            <a:off x="4865619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9" name="Oval 18"/>
          <p:cNvSpPr/>
          <p:nvPr/>
        </p:nvSpPr>
        <p:spPr>
          <a:xfrm>
            <a:off x="3531287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40" name="Oval 19"/>
          <p:cNvSpPr/>
          <p:nvPr/>
        </p:nvSpPr>
        <p:spPr>
          <a:xfrm>
            <a:off x="4420843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5</a:t>
            </a:r>
          </a:p>
        </p:txBody>
      </p:sp>
      <p:cxnSp>
        <p:nvCxnSpPr>
          <p:cNvPr id="42" name="Gerade Verbindung mit Pfeil 9"/>
          <p:cNvCxnSpPr/>
          <p:nvPr/>
        </p:nvCxnSpPr>
        <p:spPr>
          <a:xfrm flipV="1">
            <a:off x="3909216" y="2919033"/>
            <a:ext cx="846739" cy="1"/>
          </a:xfrm>
          <a:prstGeom prst="straightConnector1">
            <a:avLst/>
          </a:prstGeom>
          <a:ln w="19050">
            <a:solidFill>
              <a:srgbClr val="DC1E26"/>
            </a:solidFill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feld 8"/>
          <p:cNvSpPr txBox="1"/>
          <p:nvPr/>
        </p:nvSpPr>
        <p:spPr>
          <a:xfrm>
            <a:off x="3478608" y="2597580"/>
            <a:ext cx="1008112" cy="138499"/>
          </a:xfrm>
          <a:prstGeom prst="rect">
            <a:avLst/>
          </a:prstGeom>
          <a:solidFill>
            <a:srgbClr val="C5DE89"/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tabLst>
                <a:tab pos="715963" algn="l"/>
              </a:tabLst>
            </a:pPr>
            <a:r>
              <a:rPr lang="en-US" sz="900" dirty="0" err="1">
                <a:latin typeface="+mn-lt"/>
              </a:rPr>
              <a:t>wicklungstyp</a:t>
            </a:r>
            <a:r>
              <a:rPr lang="en-US" sz="900" dirty="0">
                <a:latin typeface="+mn-lt"/>
              </a:rPr>
              <a:t> = 1</a:t>
            </a:r>
          </a:p>
        </p:txBody>
      </p:sp>
      <p:sp>
        <p:nvSpPr>
          <p:cNvPr id="45" name="Right Brace 25"/>
          <p:cNvSpPr/>
          <p:nvPr/>
        </p:nvSpPr>
        <p:spPr>
          <a:xfrm rot="5400000">
            <a:off x="2166282" y="4727515"/>
            <a:ext cx="144016" cy="1117724"/>
          </a:xfrm>
          <a:prstGeom prst="rightBrace">
            <a:avLst>
              <a:gd name="adj1" fmla="val 46363"/>
              <a:gd name="adj2" fmla="val 50348"/>
            </a:avLst>
          </a:prstGeom>
          <a:noFill/>
          <a:ln w="19050">
            <a:solidFill>
              <a:srgbClr val="DC1E2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Textfeld 8"/>
          <p:cNvSpPr txBox="1"/>
          <p:nvPr/>
        </p:nvSpPr>
        <p:spPr>
          <a:xfrm>
            <a:off x="2257021" y="4266894"/>
            <a:ext cx="766143" cy="138499"/>
          </a:xfrm>
          <a:prstGeom prst="rect">
            <a:avLst/>
          </a:prstGeom>
          <a:solidFill>
            <a:srgbClr val="C5DE89"/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900" dirty="0">
                <a:latin typeface="+mn-lt"/>
              </a:rPr>
              <a:t>1 A </a:t>
            </a:r>
            <a:r>
              <a:rPr lang="en-US" sz="900" dirty="0" err="1">
                <a:latin typeface="+mn-lt"/>
              </a:rPr>
              <a:t>bei</a:t>
            </a:r>
            <a:r>
              <a:rPr lang="en-US" sz="900" dirty="0">
                <a:latin typeface="+mn-lt"/>
              </a:rPr>
              <a:t> 50 Hz</a:t>
            </a:r>
          </a:p>
        </p:txBody>
      </p:sp>
      <p:sp>
        <p:nvSpPr>
          <p:cNvPr id="47" name="Textfeld 8"/>
          <p:cNvSpPr txBox="1"/>
          <p:nvPr/>
        </p:nvSpPr>
        <p:spPr>
          <a:xfrm>
            <a:off x="2367834" y="3801299"/>
            <a:ext cx="948995" cy="169277"/>
          </a:xfrm>
          <a:prstGeom prst="rect">
            <a:avLst/>
          </a:prstGeom>
          <a:solidFill>
            <a:srgbClr val="C5DE89"/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>
                <a:latin typeface="+mn-lt"/>
              </a:rPr>
              <a:t>1 A </a:t>
            </a:r>
            <a:r>
              <a:rPr lang="en-US" sz="1100" dirty="0" err="1">
                <a:latin typeface="+mn-lt"/>
              </a:rPr>
              <a:t>bei</a:t>
            </a:r>
            <a:r>
              <a:rPr lang="en-US" sz="1100" dirty="0">
                <a:latin typeface="+mn-lt"/>
              </a:rPr>
              <a:t> 50 Hz</a:t>
            </a:r>
          </a:p>
        </p:txBody>
      </p:sp>
      <p:sp>
        <p:nvSpPr>
          <p:cNvPr id="48" name="Ellipse 47"/>
          <p:cNvSpPr/>
          <p:nvPr/>
        </p:nvSpPr>
        <p:spPr>
          <a:xfrm>
            <a:off x="5048683" y="2455422"/>
            <a:ext cx="144000" cy="144000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9" name="Ellipse 48"/>
          <p:cNvSpPr/>
          <p:nvPr/>
        </p:nvSpPr>
        <p:spPr>
          <a:xfrm>
            <a:off x="5099326" y="2504046"/>
            <a:ext cx="45719" cy="45719"/>
          </a:xfrm>
          <a:prstGeom prst="ellipse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0" name="Textfeld 49"/>
              <p:cNvSpPr txBox="1"/>
              <p:nvPr/>
            </p:nvSpPr>
            <p:spPr>
              <a:xfrm>
                <a:off x="5196878" y="2404625"/>
                <a:ext cx="122726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</m:oMath>
                  </m:oMathPara>
                </a14:m>
                <a:endParaRPr lang="en-US" sz="1400" dirty="0">
                  <a:solidFill>
                    <a:schemeClr val="bg2"/>
                  </a:solidFill>
                </a:endParaRPr>
              </a:p>
            </p:txBody>
          </p:sp>
        </mc:Choice>
        <mc:Fallback xmlns="">
          <p:sp>
            <p:nvSpPr>
              <p:cNvPr id="50" name="Textfeld 4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96878" y="2404625"/>
                <a:ext cx="122726" cy="215444"/>
              </a:xfrm>
              <a:prstGeom prst="rect">
                <a:avLst/>
              </a:prstGeom>
              <a:blipFill>
                <a:blip r:embed="rId3"/>
                <a:stretch>
                  <a:fillRect l="-30000" r="-25000" b="-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1" name="Gerade Verbindung mit Pfeil 50"/>
          <p:cNvCxnSpPr/>
          <p:nvPr/>
        </p:nvCxnSpPr>
        <p:spPr>
          <a:xfrm>
            <a:off x="2188951" y="4536700"/>
            <a:ext cx="0" cy="479641"/>
          </a:xfrm>
          <a:prstGeom prst="straightConnector1">
            <a:avLst/>
          </a:prstGeom>
          <a:ln w="19050">
            <a:solidFill>
              <a:srgbClr val="DC1E2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14"/>
          <p:cNvSpPr/>
          <p:nvPr/>
        </p:nvSpPr>
        <p:spPr>
          <a:xfrm>
            <a:off x="4198454" y="1519003"/>
            <a:ext cx="158400" cy="1584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55" name="Gerade Verbindung mit Pfeil 54"/>
          <p:cNvCxnSpPr/>
          <p:nvPr/>
        </p:nvCxnSpPr>
        <p:spPr>
          <a:xfrm flipH="1" flipV="1">
            <a:off x="1613882" y="4867375"/>
            <a:ext cx="324801" cy="199043"/>
          </a:xfrm>
          <a:prstGeom prst="straightConnector1">
            <a:avLst/>
          </a:prstGeom>
          <a:ln w="19050">
            <a:solidFill>
              <a:srgbClr val="DC1E26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Bildplatzhalter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96" t="12347" r="35611" b="23448"/>
          <a:stretch/>
        </p:blipFill>
        <p:spPr>
          <a:xfrm>
            <a:off x="8155720" y="1768661"/>
            <a:ext cx="2372342" cy="2126927"/>
          </a:xfrm>
          <a:prstGeom prst="rect">
            <a:avLst/>
          </a:prstGeom>
          <a:noFill/>
        </p:spPr>
      </p:pic>
      <p:pic>
        <p:nvPicPr>
          <p:cNvPr id="86" name="Grafik 85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36" t="77681" r="11052" b="2230"/>
          <a:stretch/>
        </p:blipFill>
        <p:spPr bwMode="auto">
          <a:xfrm>
            <a:off x="9151668" y="4867375"/>
            <a:ext cx="1344996" cy="1296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Textfeld 12"/>
          <p:cNvSpPr txBox="1"/>
          <p:nvPr/>
        </p:nvSpPr>
        <p:spPr>
          <a:xfrm>
            <a:off x="8075573" y="4903451"/>
            <a:ext cx="1224136" cy="36004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3,55</a:t>
            </a:r>
          </a:p>
        </p:txBody>
      </p:sp>
      <p:sp>
        <p:nvSpPr>
          <p:cNvPr id="88" name="Textfeld 13"/>
          <p:cNvSpPr txBox="1"/>
          <p:nvPr/>
        </p:nvSpPr>
        <p:spPr>
          <a:xfrm>
            <a:off x="9499283" y="4117558"/>
            <a:ext cx="792088" cy="36004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3,65</a:t>
            </a:r>
          </a:p>
        </p:txBody>
      </p:sp>
      <p:sp>
        <p:nvSpPr>
          <p:cNvPr id="89" name="Textfeld 15"/>
          <p:cNvSpPr txBox="1"/>
          <p:nvPr/>
        </p:nvSpPr>
        <p:spPr>
          <a:xfrm>
            <a:off x="10678180" y="2493279"/>
            <a:ext cx="932182" cy="37145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16,3</a:t>
            </a:r>
          </a:p>
        </p:txBody>
      </p:sp>
      <p:cxnSp>
        <p:nvCxnSpPr>
          <p:cNvPr id="90" name="Gerader Verbinder 89"/>
          <p:cNvCxnSpPr/>
          <p:nvPr/>
        </p:nvCxnSpPr>
        <p:spPr>
          <a:xfrm flipH="1">
            <a:off x="8457050" y="4847279"/>
            <a:ext cx="1112209" cy="0"/>
          </a:xfrm>
          <a:prstGeom prst="line">
            <a:avLst/>
          </a:prstGeom>
          <a:ln w="34925">
            <a:solidFill>
              <a:srgbClr val="97C1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/>
          <p:cNvCxnSpPr/>
          <p:nvPr/>
        </p:nvCxnSpPr>
        <p:spPr>
          <a:xfrm flipH="1">
            <a:off x="8457050" y="6153471"/>
            <a:ext cx="1112209" cy="0"/>
          </a:xfrm>
          <a:prstGeom prst="line">
            <a:avLst/>
          </a:prstGeom>
          <a:ln w="34925">
            <a:solidFill>
              <a:srgbClr val="97C1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r Verbinder 91"/>
          <p:cNvCxnSpPr/>
          <p:nvPr/>
        </p:nvCxnSpPr>
        <p:spPr>
          <a:xfrm flipV="1">
            <a:off x="8868702" y="5002885"/>
            <a:ext cx="8385" cy="974330"/>
          </a:xfrm>
          <a:prstGeom prst="line">
            <a:avLst/>
          </a:prstGeom>
          <a:ln w="25400">
            <a:solidFill>
              <a:srgbClr val="97C139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Gruppieren 92"/>
          <p:cNvGrpSpPr/>
          <p:nvPr/>
        </p:nvGrpSpPr>
        <p:grpSpPr>
          <a:xfrm rot="5400000">
            <a:off x="9272182" y="4077657"/>
            <a:ext cx="1112209" cy="1399550"/>
            <a:chOff x="4123315" y="2152293"/>
            <a:chExt cx="1112209" cy="1306192"/>
          </a:xfrm>
        </p:grpSpPr>
        <p:cxnSp>
          <p:nvCxnSpPr>
            <p:cNvPr id="94" name="Gerader Verbinder 93"/>
            <p:cNvCxnSpPr/>
            <p:nvPr/>
          </p:nvCxnSpPr>
          <p:spPr>
            <a:xfrm flipH="1">
              <a:off x="4123315" y="2152293"/>
              <a:ext cx="1112209" cy="0"/>
            </a:xfrm>
            <a:prstGeom prst="line">
              <a:avLst/>
            </a:prstGeom>
            <a:ln w="34925">
              <a:solidFill>
                <a:srgbClr val="002F6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/>
          </p:nvCxnSpPr>
          <p:spPr>
            <a:xfrm flipH="1">
              <a:off x="4123315" y="3458485"/>
              <a:ext cx="1112209" cy="0"/>
            </a:xfrm>
            <a:prstGeom prst="line">
              <a:avLst/>
            </a:prstGeom>
            <a:ln w="34925">
              <a:solidFill>
                <a:srgbClr val="002F6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r Verbinder 95"/>
            <p:cNvCxnSpPr/>
            <p:nvPr/>
          </p:nvCxnSpPr>
          <p:spPr>
            <a:xfrm flipV="1">
              <a:off x="4448147" y="2307898"/>
              <a:ext cx="8385" cy="974330"/>
            </a:xfrm>
            <a:prstGeom prst="line">
              <a:avLst/>
            </a:prstGeom>
            <a:ln w="25400">
              <a:solidFill>
                <a:srgbClr val="002F6C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7" name="Gerader Verbinder 96"/>
          <p:cNvCxnSpPr/>
          <p:nvPr/>
        </p:nvCxnSpPr>
        <p:spPr>
          <a:xfrm flipH="1">
            <a:off x="9523873" y="2424403"/>
            <a:ext cx="1367928" cy="5301"/>
          </a:xfrm>
          <a:prstGeom prst="line">
            <a:avLst/>
          </a:prstGeom>
          <a:ln w="34925">
            <a:solidFill>
              <a:srgbClr val="3467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 flipH="1">
            <a:off x="9523873" y="3648539"/>
            <a:ext cx="1367928" cy="0"/>
          </a:xfrm>
          <a:prstGeom prst="line">
            <a:avLst/>
          </a:prstGeom>
          <a:ln w="34925">
            <a:solidFill>
              <a:srgbClr val="3467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 flipV="1">
            <a:off x="10603992" y="2543042"/>
            <a:ext cx="8385" cy="974330"/>
          </a:xfrm>
          <a:prstGeom prst="line">
            <a:avLst/>
          </a:prstGeom>
          <a:ln w="25400">
            <a:solidFill>
              <a:srgbClr val="34677D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uppieren 99"/>
          <p:cNvGrpSpPr/>
          <p:nvPr/>
        </p:nvGrpSpPr>
        <p:grpSpPr>
          <a:xfrm rot="5400000">
            <a:off x="8800043" y="2034676"/>
            <a:ext cx="1112209" cy="335451"/>
            <a:chOff x="4123315" y="2152293"/>
            <a:chExt cx="1112209" cy="1306192"/>
          </a:xfrm>
        </p:grpSpPr>
        <p:cxnSp>
          <p:nvCxnSpPr>
            <p:cNvPr id="101" name="Gerader Verbinder 100"/>
            <p:cNvCxnSpPr/>
            <p:nvPr/>
          </p:nvCxnSpPr>
          <p:spPr>
            <a:xfrm flipH="1">
              <a:off x="4123315" y="2152293"/>
              <a:ext cx="1112209" cy="0"/>
            </a:xfrm>
            <a:prstGeom prst="line">
              <a:avLst/>
            </a:prstGeom>
            <a:ln w="34925">
              <a:solidFill>
                <a:srgbClr val="97C13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/>
            <p:cNvCxnSpPr/>
            <p:nvPr/>
          </p:nvCxnSpPr>
          <p:spPr>
            <a:xfrm flipH="1">
              <a:off x="4123315" y="3458485"/>
              <a:ext cx="1112209" cy="0"/>
            </a:xfrm>
            <a:prstGeom prst="line">
              <a:avLst/>
            </a:prstGeom>
            <a:ln w="34925">
              <a:solidFill>
                <a:srgbClr val="97C13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/>
            <p:cNvCxnSpPr/>
            <p:nvPr/>
          </p:nvCxnSpPr>
          <p:spPr>
            <a:xfrm flipV="1">
              <a:off x="4320917" y="2307895"/>
              <a:ext cx="8385" cy="974330"/>
            </a:xfrm>
            <a:prstGeom prst="line">
              <a:avLst/>
            </a:prstGeom>
            <a:ln w="25400">
              <a:solidFill>
                <a:srgbClr val="97C139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4" name="Textfeld 14"/>
          <p:cNvSpPr txBox="1"/>
          <p:nvPr/>
        </p:nvSpPr>
        <p:spPr>
          <a:xfrm>
            <a:off x="9104890" y="890832"/>
            <a:ext cx="758045" cy="36004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4,4</a:t>
            </a:r>
          </a:p>
        </p:txBody>
      </p:sp>
      <p:grpSp>
        <p:nvGrpSpPr>
          <p:cNvPr id="105" name="Gruppieren 104"/>
          <p:cNvGrpSpPr/>
          <p:nvPr/>
        </p:nvGrpSpPr>
        <p:grpSpPr>
          <a:xfrm flipH="1">
            <a:off x="5096027" y="3494000"/>
            <a:ext cx="864096" cy="1373376"/>
            <a:chOff x="3910908" y="2019152"/>
            <a:chExt cx="49024" cy="766032"/>
          </a:xfrm>
        </p:grpSpPr>
        <p:cxnSp>
          <p:nvCxnSpPr>
            <p:cNvPr id="106" name="Gerade Verbindung mit Pfeil 105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349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mit Pfeil 106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08" name="Textfeld 107"/>
          <p:cNvSpPr txBox="1"/>
          <p:nvPr/>
        </p:nvSpPr>
        <p:spPr>
          <a:xfrm>
            <a:off x="4578280" y="3160876"/>
            <a:ext cx="1080120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00" dirty="0" err="1">
                <a:latin typeface="+mn-lt"/>
              </a:rPr>
              <a:t>Leistungsteil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Induktionsanlage</a:t>
            </a:r>
            <a:endParaRPr lang="en-US" sz="1000" dirty="0">
              <a:latin typeface="+mn-lt"/>
            </a:endParaRPr>
          </a:p>
        </p:txBody>
      </p:sp>
      <p:grpSp>
        <p:nvGrpSpPr>
          <p:cNvPr id="109" name="Gruppieren 108"/>
          <p:cNvGrpSpPr/>
          <p:nvPr/>
        </p:nvGrpSpPr>
        <p:grpSpPr>
          <a:xfrm flipV="1">
            <a:off x="4704732" y="5293613"/>
            <a:ext cx="571651" cy="219614"/>
            <a:chOff x="3910908" y="2019152"/>
            <a:chExt cx="49024" cy="766032"/>
          </a:xfrm>
        </p:grpSpPr>
        <p:cxnSp>
          <p:nvCxnSpPr>
            <p:cNvPr id="110" name="Gerade Verbindung mit Pfeil 109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349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1" name="Gerade Verbindung mit Pfeil 110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12" name="Textfeld 111"/>
          <p:cNvSpPr txBox="1"/>
          <p:nvPr/>
        </p:nvSpPr>
        <p:spPr>
          <a:xfrm>
            <a:off x="4800225" y="5519356"/>
            <a:ext cx="1080120" cy="3804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00" dirty="0" err="1">
                <a:latin typeface="+mn-lt"/>
              </a:rPr>
              <a:t>Kühleinheit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Induktionsanlage</a:t>
            </a:r>
            <a:endParaRPr lang="en-US" sz="1000" dirty="0">
              <a:latin typeface="+mn-lt"/>
            </a:endParaRPr>
          </a:p>
        </p:txBody>
      </p:sp>
      <p:grpSp>
        <p:nvGrpSpPr>
          <p:cNvPr id="113" name="Gruppieren 112"/>
          <p:cNvGrpSpPr/>
          <p:nvPr/>
        </p:nvGrpSpPr>
        <p:grpSpPr>
          <a:xfrm flipH="1" flipV="1">
            <a:off x="6558051" y="4263229"/>
            <a:ext cx="72006" cy="827468"/>
            <a:chOff x="3910908" y="2019152"/>
            <a:chExt cx="49024" cy="766032"/>
          </a:xfrm>
        </p:grpSpPr>
        <p:cxnSp>
          <p:nvCxnSpPr>
            <p:cNvPr id="114" name="Gerade Verbindung mit Pfeil 113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349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5" name="Gerade Verbindung mit Pfeil 114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16" name="Textfeld 115"/>
          <p:cNvSpPr txBox="1"/>
          <p:nvPr/>
        </p:nvSpPr>
        <p:spPr>
          <a:xfrm>
            <a:off x="6068048" y="5090697"/>
            <a:ext cx="1080120" cy="6882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00" dirty="0" err="1">
                <a:latin typeface="+mn-lt"/>
              </a:rPr>
              <a:t>Gegenwerkzeug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zur</a:t>
            </a:r>
            <a:r>
              <a:rPr lang="en-US" sz="1000" dirty="0">
                <a:latin typeface="+mn-lt"/>
              </a:rPr>
              <a:t> </a:t>
            </a:r>
            <a:r>
              <a:rPr lang="en-US" sz="1000" dirty="0" err="1">
                <a:latin typeface="+mn-lt"/>
              </a:rPr>
              <a:t>Fixierung</a:t>
            </a:r>
            <a:r>
              <a:rPr lang="en-US" sz="1000" dirty="0">
                <a:latin typeface="+mn-lt"/>
              </a:rPr>
              <a:t> und </a:t>
            </a:r>
            <a:r>
              <a:rPr lang="en-US" sz="1000" dirty="0" err="1">
                <a:latin typeface="+mn-lt"/>
              </a:rPr>
              <a:t>Ausrichtung</a:t>
            </a:r>
            <a:r>
              <a:rPr lang="en-US" sz="1000" dirty="0">
                <a:latin typeface="+mn-lt"/>
              </a:rPr>
              <a:t> der </a:t>
            </a:r>
            <a:r>
              <a:rPr lang="en-US" sz="1000" dirty="0" err="1">
                <a:latin typeface="+mn-lt"/>
              </a:rPr>
              <a:t>Einzelbleche</a:t>
            </a:r>
            <a:endParaRPr lang="en-US" sz="1000" dirty="0">
              <a:latin typeface="+mn-lt"/>
            </a:endParaRPr>
          </a:p>
        </p:txBody>
      </p:sp>
      <p:grpSp>
        <p:nvGrpSpPr>
          <p:cNvPr id="81" name="Gruppieren 80"/>
          <p:cNvGrpSpPr/>
          <p:nvPr/>
        </p:nvGrpSpPr>
        <p:grpSpPr>
          <a:xfrm>
            <a:off x="8078368" y="1368599"/>
            <a:ext cx="392050" cy="752534"/>
            <a:chOff x="2842472" y="1970583"/>
            <a:chExt cx="377599" cy="724795"/>
          </a:xfrm>
        </p:grpSpPr>
        <p:sp>
          <p:nvSpPr>
            <p:cNvPr id="82" name="Freeform 54"/>
            <p:cNvSpPr>
              <a:spLocks/>
            </p:cNvSpPr>
            <p:nvPr/>
          </p:nvSpPr>
          <p:spPr bwMode="auto">
            <a:xfrm>
              <a:off x="2842472" y="1970583"/>
              <a:ext cx="314100" cy="656531"/>
            </a:xfrm>
            <a:custGeom>
              <a:avLst/>
              <a:gdLst>
                <a:gd name="T0" fmla="*/ 51 w 1272"/>
                <a:gd name="T1" fmla="*/ 0 h 2666"/>
                <a:gd name="T2" fmla="*/ 1272 w 1272"/>
                <a:gd name="T3" fmla="*/ 2643 h 2666"/>
                <a:gd name="T4" fmla="*/ 1221 w 1272"/>
                <a:gd name="T5" fmla="*/ 2666 h 2666"/>
                <a:gd name="T6" fmla="*/ 0 w 1272"/>
                <a:gd name="T7" fmla="*/ 24 h 2666"/>
                <a:gd name="T8" fmla="*/ 51 w 1272"/>
                <a:gd name="T9" fmla="*/ 0 h 2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2" h="2666">
                  <a:moveTo>
                    <a:pt x="51" y="0"/>
                  </a:moveTo>
                  <a:lnTo>
                    <a:pt x="1272" y="2643"/>
                  </a:lnTo>
                  <a:lnTo>
                    <a:pt x="1221" y="2666"/>
                  </a:lnTo>
                  <a:lnTo>
                    <a:pt x="0" y="24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97C1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58"/>
            <p:cNvSpPr>
              <a:spLocks/>
            </p:cNvSpPr>
            <p:nvPr/>
          </p:nvSpPr>
          <p:spPr bwMode="auto">
            <a:xfrm>
              <a:off x="3085133" y="2560440"/>
              <a:ext cx="125413" cy="125413"/>
            </a:xfrm>
            <a:custGeom>
              <a:avLst/>
              <a:gdLst>
                <a:gd name="T0" fmla="*/ 219 w 397"/>
                <a:gd name="T1" fmla="*/ 397 h 398"/>
                <a:gd name="T2" fmla="*/ 258 w 397"/>
                <a:gd name="T3" fmla="*/ 389 h 398"/>
                <a:gd name="T4" fmla="*/ 294 w 397"/>
                <a:gd name="T5" fmla="*/ 373 h 398"/>
                <a:gd name="T6" fmla="*/ 326 w 397"/>
                <a:gd name="T7" fmla="*/ 352 h 398"/>
                <a:gd name="T8" fmla="*/ 352 w 397"/>
                <a:gd name="T9" fmla="*/ 325 h 398"/>
                <a:gd name="T10" fmla="*/ 373 w 397"/>
                <a:gd name="T11" fmla="*/ 293 h 398"/>
                <a:gd name="T12" fmla="*/ 389 w 397"/>
                <a:gd name="T13" fmla="*/ 258 h 398"/>
                <a:gd name="T14" fmla="*/ 397 w 397"/>
                <a:gd name="T15" fmla="*/ 218 h 398"/>
                <a:gd name="T16" fmla="*/ 397 w 397"/>
                <a:gd name="T17" fmla="*/ 179 h 398"/>
                <a:gd name="T18" fmla="*/ 389 w 397"/>
                <a:gd name="T19" fmla="*/ 139 h 398"/>
                <a:gd name="T20" fmla="*/ 373 w 397"/>
                <a:gd name="T21" fmla="*/ 104 h 398"/>
                <a:gd name="T22" fmla="*/ 352 w 397"/>
                <a:gd name="T23" fmla="*/ 72 h 398"/>
                <a:gd name="T24" fmla="*/ 326 w 397"/>
                <a:gd name="T25" fmla="*/ 45 h 398"/>
                <a:gd name="T26" fmla="*/ 294 w 397"/>
                <a:gd name="T27" fmla="*/ 24 h 398"/>
                <a:gd name="T28" fmla="*/ 258 w 397"/>
                <a:gd name="T29" fmla="*/ 8 h 398"/>
                <a:gd name="T30" fmla="*/ 219 w 397"/>
                <a:gd name="T31" fmla="*/ 0 h 398"/>
                <a:gd name="T32" fmla="*/ 179 w 397"/>
                <a:gd name="T33" fmla="*/ 0 h 398"/>
                <a:gd name="T34" fmla="*/ 140 w 397"/>
                <a:gd name="T35" fmla="*/ 8 h 398"/>
                <a:gd name="T36" fmla="*/ 104 w 397"/>
                <a:gd name="T37" fmla="*/ 24 h 398"/>
                <a:gd name="T38" fmla="*/ 73 w 397"/>
                <a:gd name="T39" fmla="*/ 45 h 398"/>
                <a:gd name="T40" fmla="*/ 46 w 397"/>
                <a:gd name="T41" fmla="*/ 72 h 398"/>
                <a:gd name="T42" fmla="*/ 25 w 397"/>
                <a:gd name="T43" fmla="*/ 104 h 398"/>
                <a:gd name="T44" fmla="*/ 9 w 397"/>
                <a:gd name="T45" fmla="*/ 139 h 398"/>
                <a:gd name="T46" fmla="*/ 1 w 397"/>
                <a:gd name="T47" fmla="*/ 179 h 398"/>
                <a:gd name="T48" fmla="*/ 1 w 397"/>
                <a:gd name="T49" fmla="*/ 218 h 398"/>
                <a:gd name="T50" fmla="*/ 9 w 397"/>
                <a:gd name="T51" fmla="*/ 258 h 398"/>
                <a:gd name="T52" fmla="*/ 25 w 397"/>
                <a:gd name="T53" fmla="*/ 293 h 398"/>
                <a:gd name="T54" fmla="*/ 46 w 397"/>
                <a:gd name="T55" fmla="*/ 325 h 398"/>
                <a:gd name="T56" fmla="*/ 73 w 397"/>
                <a:gd name="T57" fmla="*/ 352 h 398"/>
                <a:gd name="T58" fmla="*/ 104 w 397"/>
                <a:gd name="T59" fmla="*/ 373 h 398"/>
                <a:gd name="T60" fmla="*/ 140 w 397"/>
                <a:gd name="T61" fmla="*/ 389 h 398"/>
                <a:gd name="T62" fmla="*/ 179 w 397"/>
                <a:gd name="T63" fmla="*/ 397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7" h="398">
                  <a:moveTo>
                    <a:pt x="199" y="398"/>
                  </a:moveTo>
                  <a:lnTo>
                    <a:pt x="219" y="397"/>
                  </a:lnTo>
                  <a:lnTo>
                    <a:pt x="239" y="393"/>
                  </a:lnTo>
                  <a:lnTo>
                    <a:pt x="258" y="389"/>
                  </a:lnTo>
                  <a:lnTo>
                    <a:pt x="277" y="382"/>
                  </a:lnTo>
                  <a:lnTo>
                    <a:pt x="294" y="373"/>
                  </a:lnTo>
                  <a:lnTo>
                    <a:pt x="310" y="364"/>
                  </a:lnTo>
                  <a:lnTo>
                    <a:pt x="326" y="352"/>
                  </a:lnTo>
                  <a:lnTo>
                    <a:pt x="339" y="339"/>
                  </a:lnTo>
                  <a:lnTo>
                    <a:pt x="352" y="325"/>
                  </a:lnTo>
                  <a:lnTo>
                    <a:pt x="364" y="309"/>
                  </a:lnTo>
                  <a:lnTo>
                    <a:pt x="373" y="293"/>
                  </a:lnTo>
                  <a:lnTo>
                    <a:pt x="382" y="276"/>
                  </a:lnTo>
                  <a:lnTo>
                    <a:pt x="389" y="258"/>
                  </a:lnTo>
                  <a:lnTo>
                    <a:pt x="394" y="239"/>
                  </a:lnTo>
                  <a:lnTo>
                    <a:pt x="397" y="218"/>
                  </a:lnTo>
                  <a:lnTo>
                    <a:pt x="397" y="199"/>
                  </a:lnTo>
                  <a:lnTo>
                    <a:pt x="397" y="179"/>
                  </a:lnTo>
                  <a:lnTo>
                    <a:pt x="394" y="158"/>
                  </a:lnTo>
                  <a:lnTo>
                    <a:pt x="389" y="139"/>
                  </a:lnTo>
                  <a:lnTo>
                    <a:pt x="382" y="121"/>
                  </a:lnTo>
                  <a:lnTo>
                    <a:pt x="373" y="104"/>
                  </a:lnTo>
                  <a:lnTo>
                    <a:pt x="364" y="88"/>
                  </a:lnTo>
                  <a:lnTo>
                    <a:pt x="352" y="72"/>
                  </a:lnTo>
                  <a:lnTo>
                    <a:pt x="339" y="58"/>
                  </a:lnTo>
                  <a:lnTo>
                    <a:pt x="326" y="45"/>
                  </a:lnTo>
                  <a:lnTo>
                    <a:pt x="310" y="33"/>
                  </a:lnTo>
                  <a:lnTo>
                    <a:pt x="294" y="24"/>
                  </a:lnTo>
                  <a:lnTo>
                    <a:pt x="277" y="15"/>
                  </a:lnTo>
                  <a:lnTo>
                    <a:pt x="258" y="8"/>
                  </a:lnTo>
                  <a:lnTo>
                    <a:pt x="239" y="4"/>
                  </a:lnTo>
                  <a:lnTo>
                    <a:pt x="219" y="0"/>
                  </a:lnTo>
                  <a:lnTo>
                    <a:pt x="199" y="0"/>
                  </a:lnTo>
                  <a:lnTo>
                    <a:pt x="179" y="0"/>
                  </a:lnTo>
                  <a:lnTo>
                    <a:pt x="159" y="4"/>
                  </a:lnTo>
                  <a:lnTo>
                    <a:pt x="140" y="8"/>
                  </a:lnTo>
                  <a:lnTo>
                    <a:pt x="121" y="15"/>
                  </a:lnTo>
                  <a:lnTo>
                    <a:pt x="104" y="24"/>
                  </a:lnTo>
                  <a:lnTo>
                    <a:pt x="89" y="33"/>
                  </a:lnTo>
                  <a:lnTo>
                    <a:pt x="73" y="45"/>
                  </a:lnTo>
                  <a:lnTo>
                    <a:pt x="59" y="58"/>
                  </a:lnTo>
                  <a:lnTo>
                    <a:pt x="46" y="72"/>
                  </a:lnTo>
                  <a:lnTo>
                    <a:pt x="34" y="88"/>
                  </a:lnTo>
                  <a:lnTo>
                    <a:pt x="25" y="104"/>
                  </a:lnTo>
                  <a:lnTo>
                    <a:pt x="16" y="121"/>
                  </a:lnTo>
                  <a:lnTo>
                    <a:pt x="9" y="139"/>
                  </a:lnTo>
                  <a:lnTo>
                    <a:pt x="5" y="158"/>
                  </a:lnTo>
                  <a:lnTo>
                    <a:pt x="1" y="179"/>
                  </a:lnTo>
                  <a:lnTo>
                    <a:pt x="0" y="199"/>
                  </a:lnTo>
                  <a:lnTo>
                    <a:pt x="1" y="218"/>
                  </a:lnTo>
                  <a:lnTo>
                    <a:pt x="5" y="239"/>
                  </a:lnTo>
                  <a:lnTo>
                    <a:pt x="9" y="258"/>
                  </a:lnTo>
                  <a:lnTo>
                    <a:pt x="16" y="276"/>
                  </a:lnTo>
                  <a:lnTo>
                    <a:pt x="25" y="293"/>
                  </a:lnTo>
                  <a:lnTo>
                    <a:pt x="34" y="309"/>
                  </a:lnTo>
                  <a:lnTo>
                    <a:pt x="46" y="325"/>
                  </a:lnTo>
                  <a:lnTo>
                    <a:pt x="59" y="339"/>
                  </a:lnTo>
                  <a:lnTo>
                    <a:pt x="73" y="352"/>
                  </a:lnTo>
                  <a:lnTo>
                    <a:pt x="89" y="364"/>
                  </a:lnTo>
                  <a:lnTo>
                    <a:pt x="104" y="373"/>
                  </a:lnTo>
                  <a:lnTo>
                    <a:pt x="121" y="382"/>
                  </a:lnTo>
                  <a:lnTo>
                    <a:pt x="140" y="389"/>
                  </a:lnTo>
                  <a:lnTo>
                    <a:pt x="159" y="393"/>
                  </a:lnTo>
                  <a:lnTo>
                    <a:pt x="179" y="397"/>
                  </a:lnTo>
                  <a:lnTo>
                    <a:pt x="199" y="398"/>
                  </a:lnTo>
                  <a:close/>
                </a:path>
              </a:pathLst>
            </a:custGeom>
            <a:solidFill>
              <a:srgbClr val="97C1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59"/>
            <p:cNvSpPr>
              <a:spLocks noEditPoints="1"/>
            </p:cNvSpPr>
            <p:nvPr/>
          </p:nvSpPr>
          <p:spPr bwMode="auto">
            <a:xfrm>
              <a:off x="3075608" y="2550915"/>
              <a:ext cx="144463" cy="144463"/>
            </a:xfrm>
            <a:custGeom>
              <a:avLst/>
              <a:gdLst>
                <a:gd name="T0" fmla="*/ 262 w 453"/>
                <a:gd name="T1" fmla="*/ 393 h 454"/>
                <a:gd name="T2" fmla="*/ 308 w 453"/>
                <a:gd name="T3" fmla="*/ 376 h 454"/>
                <a:gd name="T4" fmla="*/ 347 w 453"/>
                <a:gd name="T5" fmla="*/ 347 h 454"/>
                <a:gd name="T6" fmla="*/ 354 w 453"/>
                <a:gd name="T7" fmla="*/ 414 h 454"/>
                <a:gd name="T8" fmla="*/ 295 w 453"/>
                <a:gd name="T9" fmla="*/ 444 h 454"/>
                <a:gd name="T10" fmla="*/ 250 w 453"/>
                <a:gd name="T11" fmla="*/ 452 h 454"/>
                <a:gd name="T12" fmla="*/ 227 w 453"/>
                <a:gd name="T13" fmla="*/ 397 h 454"/>
                <a:gd name="T14" fmla="*/ 367 w 453"/>
                <a:gd name="T15" fmla="*/ 367 h 454"/>
                <a:gd name="T16" fmla="*/ 358 w 453"/>
                <a:gd name="T17" fmla="*/ 335 h 454"/>
                <a:gd name="T18" fmla="*/ 384 w 453"/>
                <a:gd name="T19" fmla="*/ 293 h 454"/>
                <a:gd name="T20" fmla="*/ 397 w 453"/>
                <a:gd name="T21" fmla="*/ 244 h 454"/>
                <a:gd name="T22" fmla="*/ 453 w 453"/>
                <a:gd name="T23" fmla="*/ 238 h 454"/>
                <a:gd name="T24" fmla="*/ 449 w 453"/>
                <a:gd name="T25" fmla="*/ 272 h 454"/>
                <a:gd name="T26" fmla="*/ 426 w 453"/>
                <a:gd name="T27" fmla="*/ 335 h 454"/>
                <a:gd name="T28" fmla="*/ 388 w 453"/>
                <a:gd name="T29" fmla="*/ 387 h 454"/>
                <a:gd name="T30" fmla="*/ 397 w 453"/>
                <a:gd name="T31" fmla="*/ 209 h 454"/>
                <a:gd name="T32" fmla="*/ 384 w 453"/>
                <a:gd name="T33" fmla="*/ 160 h 454"/>
                <a:gd name="T34" fmla="*/ 358 w 453"/>
                <a:gd name="T35" fmla="*/ 118 h 454"/>
                <a:gd name="T36" fmla="*/ 402 w 453"/>
                <a:gd name="T37" fmla="*/ 82 h 454"/>
                <a:gd name="T38" fmla="*/ 436 w 453"/>
                <a:gd name="T39" fmla="*/ 139 h 454"/>
                <a:gd name="T40" fmla="*/ 451 w 453"/>
                <a:gd name="T41" fmla="*/ 192 h 454"/>
                <a:gd name="T42" fmla="*/ 453 w 453"/>
                <a:gd name="T43" fmla="*/ 227 h 454"/>
                <a:gd name="T44" fmla="*/ 335 w 453"/>
                <a:gd name="T45" fmla="*/ 95 h 454"/>
                <a:gd name="T46" fmla="*/ 294 w 453"/>
                <a:gd name="T47" fmla="*/ 69 h 454"/>
                <a:gd name="T48" fmla="*/ 245 w 453"/>
                <a:gd name="T49" fmla="*/ 57 h 454"/>
                <a:gd name="T50" fmla="*/ 239 w 453"/>
                <a:gd name="T51" fmla="*/ 0 h 454"/>
                <a:gd name="T52" fmla="*/ 273 w 453"/>
                <a:gd name="T53" fmla="*/ 5 h 454"/>
                <a:gd name="T54" fmla="*/ 335 w 453"/>
                <a:gd name="T55" fmla="*/ 27 h 454"/>
                <a:gd name="T56" fmla="*/ 388 w 453"/>
                <a:gd name="T57" fmla="*/ 66 h 454"/>
                <a:gd name="T58" fmla="*/ 210 w 453"/>
                <a:gd name="T59" fmla="*/ 57 h 454"/>
                <a:gd name="T60" fmla="*/ 161 w 453"/>
                <a:gd name="T61" fmla="*/ 69 h 454"/>
                <a:gd name="T62" fmla="*/ 119 w 453"/>
                <a:gd name="T63" fmla="*/ 95 h 454"/>
                <a:gd name="T64" fmla="*/ 83 w 453"/>
                <a:gd name="T65" fmla="*/ 51 h 454"/>
                <a:gd name="T66" fmla="*/ 139 w 453"/>
                <a:gd name="T67" fmla="*/ 17 h 454"/>
                <a:gd name="T68" fmla="*/ 193 w 453"/>
                <a:gd name="T69" fmla="*/ 2 h 454"/>
                <a:gd name="T70" fmla="*/ 227 w 453"/>
                <a:gd name="T71" fmla="*/ 0 h 454"/>
                <a:gd name="T72" fmla="*/ 106 w 453"/>
                <a:gd name="T73" fmla="*/ 106 h 454"/>
                <a:gd name="T74" fmla="*/ 106 w 453"/>
                <a:gd name="T75" fmla="*/ 106 h 454"/>
                <a:gd name="T76" fmla="*/ 78 w 453"/>
                <a:gd name="T77" fmla="*/ 145 h 454"/>
                <a:gd name="T78" fmla="*/ 60 w 453"/>
                <a:gd name="T79" fmla="*/ 192 h 454"/>
                <a:gd name="T80" fmla="*/ 0 w 453"/>
                <a:gd name="T81" fmla="*/ 227 h 454"/>
                <a:gd name="T82" fmla="*/ 3 w 453"/>
                <a:gd name="T83" fmla="*/ 192 h 454"/>
                <a:gd name="T84" fmla="*/ 18 w 453"/>
                <a:gd name="T85" fmla="*/ 139 h 454"/>
                <a:gd name="T86" fmla="*/ 52 w 453"/>
                <a:gd name="T87" fmla="*/ 82 h 454"/>
                <a:gd name="T88" fmla="*/ 56 w 453"/>
                <a:gd name="T89" fmla="*/ 227 h 454"/>
                <a:gd name="T90" fmla="*/ 64 w 453"/>
                <a:gd name="T91" fmla="*/ 277 h 454"/>
                <a:gd name="T92" fmla="*/ 86 w 453"/>
                <a:gd name="T93" fmla="*/ 321 h 454"/>
                <a:gd name="T94" fmla="*/ 67 w 453"/>
                <a:gd name="T95" fmla="*/ 387 h 454"/>
                <a:gd name="T96" fmla="*/ 28 w 453"/>
                <a:gd name="T97" fmla="*/ 335 h 454"/>
                <a:gd name="T98" fmla="*/ 4 w 453"/>
                <a:gd name="T99" fmla="*/ 272 h 454"/>
                <a:gd name="T100" fmla="*/ 1 w 453"/>
                <a:gd name="T101" fmla="*/ 238 h 454"/>
                <a:gd name="T102" fmla="*/ 106 w 453"/>
                <a:gd name="T103" fmla="*/ 347 h 454"/>
                <a:gd name="T104" fmla="*/ 106 w 453"/>
                <a:gd name="T105" fmla="*/ 347 h 454"/>
                <a:gd name="T106" fmla="*/ 132 w 453"/>
                <a:gd name="T107" fmla="*/ 368 h 454"/>
                <a:gd name="T108" fmla="*/ 177 w 453"/>
                <a:gd name="T109" fmla="*/ 389 h 454"/>
                <a:gd name="T110" fmla="*/ 227 w 453"/>
                <a:gd name="T111" fmla="*/ 397 h 454"/>
                <a:gd name="T112" fmla="*/ 204 w 453"/>
                <a:gd name="T113" fmla="*/ 452 h 454"/>
                <a:gd name="T114" fmla="*/ 160 w 453"/>
                <a:gd name="T115" fmla="*/ 444 h 454"/>
                <a:gd name="T116" fmla="*/ 101 w 453"/>
                <a:gd name="T117" fmla="*/ 414 h 454"/>
                <a:gd name="T118" fmla="*/ 106 w 453"/>
                <a:gd name="T119" fmla="*/ 347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3" h="454">
                  <a:moveTo>
                    <a:pt x="227" y="397"/>
                  </a:moveTo>
                  <a:lnTo>
                    <a:pt x="245" y="396"/>
                  </a:lnTo>
                  <a:lnTo>
                    <a:pt x="262" y="393"/>
                  </a:lnTo>
                  <a:lnTo>
                    <a:pt x="278" y="389"/>
                  </a:lnTo>
                  <a:lnTo>
                    <a:pt x="294" y="384"/>
                  </a:lnTo>
                  <a:lnTo>
                    <a:pt x="308" y="376"/>
                  </a:lnTo>
                  <a:lnTo>
                    <a:pt x="322" y="368"/>
                  </a:lnTo>
                  <a:lnTo>
                    <a:pt x="335" y="358"/>
                  </a:lnTo>
                  <a:lnTo>
                    <a:pt x="347" y="347"/>
                  </a:lnTo>
                  <a:lnTo>
                    <a:pt x="388" y="387"/>
                  </a:lnTo>
                  <a:lnTo>
                    <a:pt x="372" y="402"/>
                  </a:lnTo>
                  <a:lnTo>
                    <a:pt x="354" y="414"/>
                  </a:lnTo>
                  <a:lnTo>
                    <a:pt x="335" y="426"/>
                  </a:lnTo>
                  <a:lnTo>
                    <a:pt x="315" y="436"/>
                  </a:lnTo>
                  <a:lnTo>
                    <a:pt x="295" y="444"/>
                  </a:lnTo>
                  <a:lnTo>
                    <a:pt x="273" y="448"/>
                  </a:lnTo>
                  <a:lnTo>
                    <a:pt x="262" y="451"/>
                  </a:lnTo>
                  <a:lnTo>
                    <a:pt x="250" y="452"/>
                  </a:lnTo>
                  <a:lnTo>
                    <a:pt x="239" y="453"/>
                  </a:lnTo>
                  <a:lnTo>
                    <a:pt x="227" y="454"/>
                  </a:lnTo>
                  <a:lnTo>
                    <a:pt x="227" y="397"/>
                  </a:lnTo>
                  <a:close/>
                  <a:moveTo>
                    <a:pt x="347" y="347"/>
                  </a:moveTo>
                  <a:lnTo>
                    <a:pt x="348" y="347"/>
                  </a:lnTo>
                  <a:lnTo>
                    <a:pt x="367" y="367"/>
                  </a:lnTo>
                  <a:lnTo>
                    <a:pt x="347" y="347"/>
                  </a:lnTo>
                  <a:close/>
                  <a:moveTo>
                    <a:pt x="348" y="347"/>
                  </a:moveTo>
                  <a:lnTo>
                    <a:pt x="358" y="335"/>
                  </a:lnTo>
                  <a:lnTo>
                    <a:pt x="368" y="321"/>
                  </a:lnTo>
                  <a:lnTo>
                    <a:pt x="376" y="308"/>
                  </a:lnTo>
                  <a:lnTo>
                    <a:pt x="384" y="293"/>
                  </a:lnTo>
                  <a:lnTo>
                    <a:pt x="390" y="277"/>
                  </a:lnTo>
                  <a:lnTo>
                    <a:pt x="393" y="261"/>
                  </a:lnTo>
                  <a:lnTo>
                    <a:pt x="397" y="244"/>
                  </a:lnTo>
                  <a:lnTo>
                    <a:pt x="397" y="227"/>
                  </a:lnTo>
                  <a:lnTo>
                    <a:pt x="453" y="227"/>
                  </a:lnTo>
                  <a:lnTo>
                    <a:pt x="453" y="238"/>
                  </a:lnTo>
                  <a:lnTo>
                    <a:pt x="452" y="250"/>
                  </a:lnTo>
                  <a:lnTo>
                    <a:pt x="451" y="261"/>
                  </a:lnTo>
                  <a:lnTo>
                    <a:pt x="449" y="272"/>
                  </a:lnTo>
                  <a:lnTo>
                    <a:pt x="443" y="294"/>
                  </a:lnTo>
                  <a:lnTo>
                    <a:pt x="436" y="314"/>
                  </a:lnTo>
                  <a:lnTo>
                    <a:pt x="426" y="335"/>
                  </a:lnTo>
                  <a:lnTo>
                    <a:pt x="415" y="353"/>
                  </a:lnTo>
                  <a:lnTo>
                    <a:pt x="402" y="371"/>
                  </a:lnTo>
                  <a:lnTo>
                    <a:pt x="388" y="387"/>
                  </a:lnTo>
                  <a:lnTo>
                    <a:pt x="348" y="347"/>
                  </a:lnTo>
                  <a:close/>
                  <a:moveTo>
                    <a:pt x="397" y="227"/>
                  </a:moveTo>
                  <a:lnTo>
                    <a:pt x="397" y="209"/>
                  </a:lnTo>
                  <a:lnTo>
                    <a:pt x="393" y="192"/>
                  </a:lnTo>
                  <a:lnTo>
                    <a:pt x="390" y="176"/>
                  </a:lnTo>
                  <a:lnTo>
                    <a:pt x="384" y="160"/>
                  </a:lnTo>
                  <a:lnTo>
                    <a:pt x="376" y="145"/>
                  </a:lnTo>
                  <a:lnTo>
                    <a:pt x="368" y="132"/>
                  </a:lnTo>
                  <a:lnTo>
                    <a:pt x="358" y="118"/>
                  </a:lnTo>
                  <a:lnTo>
                    <a:pt x="347" y="106"/>
                  </a:lnTo>
                  <a:lnTo>
                    <a:pt x="388" y="66"/>
                  </a:lnTo>
                  <a:lnTo>
                    <a:pt x="402" y="82"/>
                  </a:lnTo>
                  <a:lnTo>
                    <a:pt x="415" y="100"/>
                  </a:lnTo>
                  <a:lnTo>
                    <a:pt x="426" y="118"/>
                  </a:lnTo>
                  <a:lnTo>
                    <a:pt x="436" y="139"/>
                  </a:lnTo>
                  <a:lnTo>
                    <a:pt x="443" y="159"/>
                  </a:lnTo>
                  <a:lnTo>
                    <a:pt x="449" y="181"/>
                  </a:lnTo>
                  <a:lnTo>
                    <a:pt x="451" y="192"/>
                  </a:lnTo>
                  <a:lnTo>
                    <a:pt x="452" y="203"/>
                  </a:lnTo>
                  <a:lnTo>
                    <a:pt x="453" y="215"/>
                  </a:lnTo>
                  <a:lnTo>
                    <a:pt x="453" y="227"/>
                  </a:lnTo>
                  <a:lnTo>
                    <a:pt x="397" y="227"/>
                  </a:lnTo>
                  <a:close/>
                  <a:moveTo>
                    <a:pt x="347" y="106"/>
                  </a:moveTo>
                  <a:lnTo>
                    <a:pt x="335" y="95"/>
                  </a:lnTo>
                  <a:lnTo>
                    <a:pt x="322" y="85"/>
                  </a:lnTo>
                  <a:lnTo>
                    <a:pt x="308" y="77"/>
                  </a:lnTo>
                  <a:lnTo>
                    <a:pt x="294" y="69"/>
                  </a:lnTo>
                  <a:lnTo>
                    <a:pt x="278" y="64"/>
                  </a:lnTo>
                  <a:lnTo>
                    <a:pt x="262" y="60"/>
                  </a:lnTo>
                  <a:lnTo>
                    <a:pt x="245" y="57"/>
                  </a:lnTo>
                  <a:lnTo>
                    <a:pt x="227" y="57"/>
                  </a:lnTo>
                  <a:lnTo>
                    <a:pt x="227" y="0"/>
                  </a:lnTo>
                  <a:lnTo>
                    <a:pt x="239" y="0"/>
                  </a:lnTo>
                  <a:lnTo>
                    <a:pt x="250" y="1"/>
                  </a:lnTo>
                  <a:lnTo>
                    <a:pt x="262" y="2"/>
                  </a:lnTo>
                  <a:lnTo>
                    <a:pt x="273" y="5"/>
                  </a:lnTo>
                  <a:lnTo>
                    <a:pt x="295" y="10"/>
                  </a:lnTo>
                  <a:lnTo>
                    <a:pt x="315" y="17"/>
                  </a:lnTo>
                  <a:lnTo>
                    <a:pt x="335" y="27"/>
                  </a:lnTo>
                  <a:lnTo>
                    <a:pt x="354" y="39"/>
                  </a:lnTo>
                  <a:lnTo>
                    <a:pt x="372" y="51"/>
                  </a:lnTo>
                  <a:lnTo>
                    <a:pt x="388" y="66"/>
                  </a:lnTo>
                  <a:lnTo>
                    <a:pt x="347" y="106"/>
                  </a:lnTo>
                  <a:close/>
                  <a:moveTo>
                    <a:pt x="227" y="57"/>
                  </a:moveTo>
                  <a:lnTo>
                    <a:pt x="210" y="57"/>
                  </a:lnTo>
                  <a:lnTo>
                    <a:pt x="193" y="60"/>
                  </a:lnTo>
                  <a:lnTo>
                    <a:pt x="177" y="64"/>
                  </a:lnTo>
                  <a:lnTo>
                    <a:pt x="161" y="69"/>
                  </a:lnTo>
                  <a:lnTo>
                    <a:pt x="146" y="77"/>
                  </a:lnTo>
                  <a:lnTo>
                    <a:pt x="132" y="85"/>
                  </a:lnTo>
                  <a:lnTo>
                    <a:pt x="119" y="95"/>
                  </a:lnTo>
                  <a:lnTo>
                    <a:pt x="106" y="106"/>
                  </a:lnTo>
                  <a:lnTo>
                    <a:pt x="67" y="66"/>
                  </a:lnTo>
                  <a:lnTo>
                    <a:pt x="83" y="51"/>
                  </a:lnTo>
                  <a:lnTo>
                    <a:pt x="101" y="39"/>
                  </a:lnTo>
                  <a:lnTo>
                    <a:pt x="119" y="27"/>
                  </a:lnTo>
                  <a:lnTo>
                    <a:pt x="139" y="17"/>
                  </a:lnTo>
                  <a:lnTo>
                    <a:pt x="160" y="10"/>
                  </a:lnTo>
                  <a:lnTo>
                    <a:pt x="181" y="5"/>
                  </a:lnTo>
                  <a:lnTo>
                    <a:pt x="193" y="2"/>
                  </a:lnTo>
                  <a:lnTo>
                    <a:pt x="204" y="1"/>
                  </a:lnTo>
                  <a:lnTo>
                    <a:pt x="215" y="0"/>
                  </a:lnTo>
                  <a:lnTo>
                    <a:pt x="227" y="0"/>
                  </a:lnTo>
                  <a:lnTo>
                    <a:pt x="227" y="57"/>
                  </a:lnTo>
                  <a:close/>
                  <a:moveTo>
                    <a:pt x="106" y="106"/>
                  </a:moveTo>
                  <a:lnTo>
                    <a:pt x="106" y="106"/>
                  </a:lnTo>
                  <a:lnTo>
                    <a:pt x="87" y="86"/>
                  </a:lnTo>
                  <a:lnTo>
                    <a:pt x="106" y="106"/>
                  </a:lnTo>
                  <a:close/>
                  <a:moveTo>
                    <a:pt x="106" y="106"/>
                  </a:moveTo>
                  <a:lnTo>
                    <a:pt x="96" y="118"/>
                  </a:lnTo>
                  <a:lnTo>
                    <a:pt x="86" y="132"/>
                  </a:lnTo>
                  <a:lnTo>
                    <a:pt x="78" y="145"/>
                  </a:lnTo>
                  <a:lnTo>
                    <a:pt x="70" y="160"/>
                  </a:lnTo>
                  <a:lnTo>
                    <a:pt x="64" y="176"/>
                  </a:lnTo>
                  <a:lnTo>
                    <a:pt x="60" y="192"/>
                  </a:lnTo>
                  <a:lnTo>
                    <a:pt x="58" y="209"/>
                  </a:lnTo>
                  <a:lnTo>
                    <a:pt x="56" y="227"/>
                  </a:lnTo>
                  <a:lnTo>
                    <a:pt x="0" y="227"/>
                  </a:lnTo>
                  <a:lnTo>
                    <a:pt x="1" y="215"/>
                  </a:lnTo>
                  <a:lnTo>
                    <a:pt x="1" y="203"/>
                  </a:lnTo>
                  <a:lnTo>
                    <a:pt x="3" y="192"/>
                  </a:lnTo>
                  <a:lnTo>
                    <a:pt x="4" y="181"/>
                  </a:lnTo>
                  <a:lnTo>
                    <a:pt x="10" y="159"/>
                  </a:lnTo>
                  <a:lnTo>
                    <a:pt x="18" y="139"/>
                  </a:lnTo>
                  <a:lnTo>
                    <a:pt x="28" y="118"/>
                  </a:lnTo>
                  <a:lnTo>
                    <a:pt x="39" y="100"/>
                  </a:lnTo>
                  <a:lnTo>
                    <a:pt x="52" y="82"/>
                  </a:lnTo>
                  <a:lnTo>
                    <a:pt x="67" y="66"/>
                  </a:lnTo>
                  <a:lnTo>
                    <a:pt x="106" y="106"/>
                  </a:lnTo>
                  <a:close/>
                  <a:moveTo>
                    <a:pt x="56" y="227"/>
                  </a:moveTo>
                  <a:lnTo>
                    <a:pt x="58" y="244"/>
                  </a:lnTo>
                  <a:lnTo>
                    <a:pt x="60" y="261"/>
                  </a:lnTo>
                  <a:lnTo>
                    <a:pt x="64" y="277"/>
                  </a:lnTo>
                  <a:lnTo>
                    <a:pt x="70" y="293"/>
                  </a:lnTo>
                  <a:lnTo>
                    <a:pt x="77" y="308"/>
                  </a:lnTo>
                  <a:lnTo>
                    <a:pt x="86" y="321"/>
                  </a:lnTo>
                  <a:lnTo>
                    <a:pt x="96" y="335"/>
                  </a:lnTo>
                  <a:lnTo>
                    <a:pt x="106" y="347"/>
                  </a:lnTo>
                  <a:lnTo>
                    <a:pt x="67" y="387"/>
                  </a:lnTo>
                  <a:lnTo>
                    <a:pt x="52" y="371"/>
                  </a:lnTo>
                  <a:lnTo>
                    <a:pt x="39" y="353"/>
                  </a:lnTo>
                  <a:lnTo>
                    <a:pt x="28" y="335"/>
                  </a:lnTo>
                  <a:lnTo>
                    <a:pt x="18" y="314"/>
                  </a:lnTo>
                  <a:lnTo>
                    <a:pt x="10" y="294"/>
                  </a:lnTo>
                  <a:lnTo>
                    <a:pt x="4" y="272"/>
                  </a:lnTo>
                  <a:lnTo>
                    <a:pt x="3" y="261"/>
                  </a:lnTo>
                  <a:lnTo>
                    <a:pt x="1" y="250"/>
                  </a:lnTo>
                  <a:lnTo>
                    <a:pt x="1" y="238"/>
                  </a:lnTo>
                  <a:lnTo>
                    <a:pt x="0" y="227"/>
                  </a:lnTo>
                  <a:lnTo>
                    <a:pt x="56" y="227"/>
                  </a:lnTo>
                  <a:close/>
                  <a:moveTo>
                    <a:pt x="106" y="347"/>
                  </a:moveTo>
                  <a:lnTo>
                    <a:pt x="106" y="347"/>
                  </a:lnTo>
                  <a:lnTo>
                    <a:pt x="87" y="367"/>
                  </a:lnTo>
                  <a:lnTo>
                    <a:pt x="106" y="347"/>
                  </a:lnTo>
                  <a:close/>
                  <a:moveTo>
                    <a:pt x="106" y="347"/>
                  </a:moveTo>
                  <a:lnTo>
                    <a:pt x="119" y="358"/>
                  </a:lnTo>
                  <a:lnTo>
                    <a:pt x="132" y="368"/>
                  </a:lnTo>
                  <a:lnTo>
                    <a:pt x="146" y="376"/>
                  </a:lnTo>
                  <a:lnTo>
                    <a:pt x="161" y="384"/>
                  </a:lnTo>
                  <a:lnTo>
                    <a:pt x="177" y="389"/>
                  </a:lnTo>
                  <a:lnTo>
                    <a:pt x="193" y="393"/>
                  </a:lnTo>
                  <a:lnTo>
                    <a:pt x="210" y="396"/>
                  </a:lnTo>
                  <a:lnTo>
                    <a:pt x="227" y="397"/>
                  </a:lnTo>
                  <a:lnTo>
                    <a:pt x="227" y="454"/>
                  </a:lnTo>
                  <a:lnTo>
                    <a:pt x="215" y="453"/>
                  </a:lnTo>
                  <a:lnTo>
                    <a:pt x="204" y="452"/>
                  </a:lnTo>
                  <a:lnTo>
                    <a:pt x="193" y="451"/>
                  </a:lnTo>
                  <a:lnTo>
                    <a:pt x="181" y="448"/>
                  </a:lnTo>
                  <a:lnTo>
                    <a:pt x="160" y="444"/>
                  </a:lnTo>
                  <a:lnTo>
                    <a:pt x="139" y="436"/>
                  </a:lnTo>
                  <a:lnTo>
                    <a:pt x="119" y="426"/>
                  </a:lnTo>
                  <a:lnTo>
                    <a:pt x="101" y="414"/>
                  </a:lnTo>
                  <a:lnTo>
                    <a:pt x="83" y="402"/>
                  </a:lnTo>
                  <a:lnTo>
                    <a:pt x="67" y="387"/>
                  </a:lnTo>
                  <a:lnTo>
                    <a:pt x="106" y="347"/>
                  </a:lnTo>
                  <a:close/>
                </a:path>
              </a:pathLst>
            </a:custGeom>
            <a:solidFill>
              <a:srgbClr val="6A8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8" name="Textfeld 117"/>
          <p:cNvSpPr txBox="1"/>
          <p:nvPr/>
        </p:nvSpPr>
        <p:spPr>
          <a:xfrm>
            <a:off x="7317004" y="961345"/>
            <a:ext cx="1420513" cy="2440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200" dirty="0" err="1">
                <a:latin typeface="+mn-lt"/>
              </a:rPr>
              <a:t>Trägermaterial</a:t>
            </a:r>
            <a:r>
              <a:rPr lang="en-US" sz="1200" dirty="0">
                <a:latin typeface="+mn-lt"/>
              </a:rPr>
              <a:t> (Kupfer)</a:t>
            </a:r>
          </a:p>
        </p:txBody>
      </p:sp>
      <p:grpSp>
        <p:nvGrpSpPr>
          <p:cNvPr id="119" name="Gruppieren 118"/>
          <p:cNvGrpSpPr/>
          <p:nvPr/>
        </p:nvGrpSpPr>
        <p:grpSpPr>
          <a:xfrm>
            <a:off x="5747640" y="1567785"/>
            <a:ext cx="2016113" cy="1198168"/>
            <a:chOff x="4228675" y="2456233"/>
            <a:chExt cx="2016113" cy="1198168"/>
          </a:xfrm>
        </p:grpSpPr>
        <p:pic>
          <p:nvPicPr>
            <p:cNvPr id="120" name="Grafik 119"/>
            <p:cNvPicPr>
              <a:picLocks noChangeAspect="1"/>
            </p:cNvPicPr>
            <p:nvPr/>
          </p:nvPicPr>
          <p:blipFill rotWithShape="1"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41" t="3800" r="1241" b="4851"/>
            <a:stretch/>
          </p:blipFill>
          <p:spPr>
            <a:xfrm>
              <a:off x="4243854" y="2456233"/>
              <a:ext cx="1663053" cy="893121"/>
            </a:xfrm>
            <a:prstGeom prst="rect">
              <a:avLst/>
            </a:prstGeom>
          </p:spPr>
        </p:pic>
        <p:sp>
          <p:nvSpPr>
            <p:cNvPr id="121" name="Textfeld 120"/>
            <p:cNvSpPr txBox="1"/>
            <p:nvPr/>
          </p:nvSpPr>
          <p:spPr>
            <a:xfrm>
              <a:off x="4969055" y="3440304"/>
              <a:ext cx="207421" cy="21409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600" dirty="0">
                  <a:latin typeface="+mn-lt"/>
                </a:rPr>
                <a:t>B</a:t>
              </a:r>
            </a:p>
          </p:txBody>
        </p:sp>
        <p:sp>
          <p:nvSpPr>
            <p:cNvPr id="122" name="Textfeld 121"/>
            <p:cNvSpPr txBox="1"/>
            <p:nvPr/>
          </p:nvSpPr>
          <p:spPr>
            <a:xfrm>
              <a:off x="6037367" y="2800825"/>
              <a:ext cx="207421" cy="21409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600" dirty="0">
                  <a:latin typeface="+mn-lt"/>
                </a:rPr>
                <a:t>D</a:t>
              </a:r>
            </a:p>
          </p:txBody>
        </p:sp>
        <p:cxnSp>
          <p:nvCxnSpPr>
            <p:cNvPr id="123" name="Gerade Verbindung mit Pfeil 122"/>
            <p:cNvCxnSpPr/>
            <p:nvPr/>
          </p:nvCxnSpPr>
          <p:spPr>
            <a:xfrm>
              <a:off x="4367808" y="3429000"/>
              <a:ext cx="1415021" cy="0"/>
            </a:xfrm>
            <a:prstGeom prst="straightConnector1">
              <a:avLst/>
            </a:prstGeom>
            <a:ln w="19050">
              <a:solidFill>
                <a:srgbClr val="DFBFA9"/>
              </a:solidFill>
              <a:headEnd type="stealt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r Verbinder 123"/>
            <p:cNvCxnSpPr/>
            <p:nvPr/>
          </p:nvCxnSpPr>
          <p:spPr>
            <a:xfrm>
              <a:off x="5784157" y="2999333"/>
              <a:ext cx="0" cy="505409"/>
            </a:xfrm>
            <a:prstGeom prst="line">
              <a:avLst/>
            </a:prstGeom>
            <a:ln w="9525">
              <a:solidFill>
                <a:srgbClr val="DFBFA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r Verbinder 124"/>
            <p:cNvCxnSpPr/>
            <p:nvPr/>
          </p:nvCxnSpPr>
          <p:spPr>
            <a:xfrm flipH="1">
              <a:off x="5449910" y="3222860"/>
              <a:ext cx="646088" cy="0"/>
            </a:xfrm>
            <a:prstGeom prst="line">
              <a:avLst/>
            </a:prstGeom>
            <a:ln w="9525">
              <a:solidFill>
                <a:srgbClr val="DFBFA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r Verbinder 125"/>
            <p:cNvCxnSpPr/>
            <p:nvPr/>
          </p:nvCxnSpPr>
          <p:spPr>
            <a:xfrm flipH="1">
              <a:off x="5449910" y="2592685"/>
              <a:ext cx="646088" cy="0"/>
            </a:xfrm>
            <a:prstGeom prst="line">
              <a:avLst/>
            </a:prstGeom>
            <a:ln w="9525">
              <a:solidFill>
                <a:srgbClr val="DFBFA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mit Pfeil 126"/>
            <p:cNvCxnSpPr/>
            <p:nvPr/>
          </p:nvCxnSpPr>
          <p:spPr>
            <a:xfrm flipV="1">
              <a:off x="6023992" y="2590304"/>
              <a:ext cx="0" cy="634937"/>
            </a:xfrm>
            <a:prstGeom prst="straightConnector1">
              <a:avLst/>
            </a:prstGeom>
            <a:ln w="19050">
              <a:solidFill>
                <a:srgbClr val="DFBFA9"/>
              </a:solidFill>
              <a:headEnd type="stealt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Ellipse 127"/>
            <p:cNvSpPr/>
            <p:nvPr/>
          </p:nvSpPr>
          <p:spPr>
            <a:xfrm>
              <a:off x="4228675" y="3276420"/>
              <a:ext cx="139133" cy="7531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129" name="Rechteck 128"/>
            <p:cNvSpPr/>
            <p:nvPr/>
          </p:nvSpPr>
          <p:spPr>
            <a:xfrm>
              <a:off x="4243854" y="3249656"/>
              <a:ext cx="51946" cy="9969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30" name="Gerader Verbinder 129"/>
            <p:cNvCxnSpPr/>
            <p:nvPr/>
          </p:nvCxnSpPr>
          <p:spPr>
            <a:xfrm>
              <a:off x="4369617" y="2996952"/>
              <a:ext cx="0" cy="505409"/>
            </a:xfrm>
            <a:prstGeom prst="line">
              <a:avLst/>
            </a:prstGeom>
            <a:ln w="9525">
              <a:solidFill>
                <a:srgbClr val="DFBFA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1" name="Gruppieren 130"/>
          <p:cNvGrpSpPr/>
          <p:nvPr/>
        </p:nvGrpSpPr>
        <p:grpSpPr>
          <a:xfrm>
            <a:off x="975283" y="1327393"/>
            <a:ext cx="1155126" cy="3320857"/>
            <a:chOff x="1610324" y="1908451"/>
            <a:chExt cx="1155126" cy="3148731"/>
          </a:xfrm>
        </p:grpSpPr>
        <p:grpSp>
          <p:nvGrpSpPr>
            <p:cNvPr id="132" name="Gruppieren 131"/>
            <p:cNvGrpSpPr/>
            <p:nvPr/>
          </p:nvGrpSpPr>
          <p:grpSpPr>
            <a:xfrm>
              <a:off x="1610324" y="1908451"/>
              <a:ext cx="1152000" cy="2556000"/>
              <a:chOff x="4932040" y="2204864"/>
              <a:chExt cx="1152000" cy="2556000"/>
            </a:xfrm>
          </p:grpSpPr>
          <p:sp>
            <p:nvSpPr>
              <p:cNvPr id="141" name="Abgerundetes Rechteck 140"/>
              <p:cNvSpPr/>
              <p:nvPr/>
            </p:nvSpPr>
            <p:spPr>
              <a:xfrm>
                <a:off x="4932040" y="2204864"/>
                <a:ext cx="1152000" cy="2556000"/>
              </a:xfrm>
              <a:prstGeom prst="roundRect">
                <a:avLst/>
              </a:prstGeom>
              <a:solidFill>
                <a:schemeClr val="bg2"/>
              </a:solidFill>
              <a:ln>
                <a:solidFill>
                  <a:srgbClr val="97C1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2" name="Abgerundetes Rechteck 141"/>
              <p:cNvSpPr/>
              <p:nvPr/>
            </p:nvSpPr>
            <p:spPr>
              <a:xfrm>
                <a:off x="4968040" y="2240864"/>
                <a:ext cx="1080000" cy="2484000"/>
              </a:xfrm>
              <a:prstGeom prst="roundRect">
                <a:avLst/>
              </a:prstGeom>
              <a:solidFill>
                <a:srgbClr val="295B9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33" name="Gerade Verbindung mit Pfeil 132"/>
            <p:cNvCxnSpPr/>
            <p:nvPr/>
          </p:nvCxnSpPr>
          <p:spPr>
            <a:xfrm>
              <a:off x="1614339" y="5012596"/>
              <a:ext cx="1147985" cy="0"/>
            </a:xfrm>
            <a:prstGeom prst="straightConnector1">
              <a:avLst/>
            </a:prstGeom>
            <a:ln w="19050">
              <a:solidFill>
                <a:srgbClr val="97C139"/>
              </a:solidFill>
              <a:headEnd type="stealt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" name="Textfeld 133"/>
            <p:cNvSpPr txBox="1"/>
            <p:nvPr/>
          </p:nvSpPr>
          <p:spPr>
            <a:xfrm>
              <a:off x="1741010" y="4797152"/>
              <a:ext cx="890628" cy="204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dirty="0" err="1">
                  <a:latin typeface="+mn-lt"/>
                </a:rPr>
                <a:t>Außenmaß</a:t>
              </a:r>
              <a:endParaRPr lang="en-US" sz="1400" dirty="0">
                <a:latin typeface="+mn-lt"/>
              </a:endParaRPr>
            </a:p>
          </p:txBody>
        </p:sp>
        <p:cxnSp>
          <p:nvCxnSpPr>
            <p:cNvPr id="135" name="Gerade Verbindung mit Pfeil 134"/>
            <p:cNvCxnSpPr/>
            <p:nvPr/>
          </p:nvCxnSpPr>
          <p:spPr>
            <a:xfrm>
              <a:off x="1646324" y="4724564"/>
              <a:ext cx="1080000" cy="0"/>
            </a:xfrm>
            <a:prstGeom prst="straightConnector1">
              <a:avLst/>
            </a:prstGeom>
            <a:ln w="19050">
              <a:solidFill>
                <a:srgbClr val="34677D"/>
              </a:solidFill>
              <a:headEnd type="stealt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6" name="Textfeld 135"/>
            <p:cNvSpPr txBox="1"/>
            <p:nvPr/>
          </p:nvSpPr>
          <p:spPr>
            <a:xfrm>
              <a:off x="1741010" y="4509120"/>
              <a:ext cx="890628" cy="204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dirty="0" err="1">
                  <a:latin typeface="+mn-lt"/>
                </a:rPr>
                <a:t>Leitermaß</a:t>
              </a:r>
              <a:endParaRPr lang="en-US" sz="1400" dirty="0">
                <a:latin typeface="+mn-lt"/>
              </a:endParaRPr>
            </a:p>
          </p:txBody>
        </p:sp>
        <p:cxnSp>
          <p:nvCxnSpPr>
            <p:cNvPr id="137" name="Gerader Verbinder 136"/>
            <p:cNvCxnSpPr/>
            <p:nvPr/>
          </p:nvCxnSpPr>
          <p:spPr>
            <a:xfrm>
              <a:off x="2755974" y="4221088"/>
              <a:ext cx="9476" cy="836094"/>
            </a:xfrm>
            <a:prstGeom prst="line">
              <a:avLst/>
            </a:prstGeom>
            <a:ln w="9525">
              <a:solidFill>
                <a:srgbClr val="97C13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r Verbinder 137"/>
            <p:cNvCxnSpPr/>
            <p:nvPr/>
          </p:nvCxnSpPr>
          <p:spPr>
            <a:xfrm flipH="1">
              <a:off x="1620689" y="4221088"/>
              <a:ext cx="1" cy="836094"/>
            </a:xfrm>
            <a:prstGeom prst="line">
              <a:avLst/>
            </a:prstGeom>
            <a:ln w="9525">
              <a:solidFill>
                <a:srgbClr val="97C13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Gerader Verbinder 138"/>
            <p:cNvCxnSpPr/>
            <p:nvPr/>
          </p:nvCxnSpPr>
          <p:spPr>
            <a:xfrm>
              <a:off x="2715212" y="4192700"/>
              <a:ext cx="0" cy="583023"/>
            </a:xfrm>
            <a:prstGeom prst="line">
              <a:avLst/>
            </a:prstGeom>
            <a:ln w="9525">
              <a:solidFill>
                <a:srgbClr val="3467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/>
            <p:cNvCxnSpPr/>
            <p:nvPr/>
          </p:nvCxnSpPr>
          <p:spPr>
            <a:xfrm>
              <a:off x="1650880" y="4192699"/>
              <a:ext cx="0" cy="583024"/>
            </a:xfrm>
            <a:prstGeom prst="line">
              <a:avLst/>
            </a:prstGeom>
            <a:ln w="9525">
              <a:solidFill>
                <a:srgbClr val="3467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/>
          <p:cNvGrpSpPr/>
          <p:nvPr/>
        </p:nvGrpSpPr>
        <p:grpSpPr>
          <a:xfrm flipH="1">
            <a:off x="6228396" y="3159235"/>
            <a:ext cx="864096" cy="1373376"/>
            <a:chOff x="3910908" y="2019153"/>
            <a:chExt cx="49025" cy="766032"/>
          </a:xfrm>
        </p:grpSpPr>
        <p:cxnSp>
          <p:nvCxnSpPr>
            <p:cNvPr id="144" name="Gerade Verbindung mit Pfeil 143"/>
            <p:cNvCxnSpPr/>
            <p:nvPr/>
          </p:nvCxnSpPr>
          <p:spPr bwMode="auto">
            <a:xfrm flipH="1">
              <a:off x="3910909" y="2019153"/>
              <a:ext cx="49024" cy="766032"/>
            </a:xfrm>
            <a:prstGeom prst="straightConnector1">
              <a:avLst/>
            </a:prstGeom>
            <a:noFill/>
            <a:ln w="349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5" name="Gerade Verbindung mit Pfeil 144"/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49" name="Gruppieren 148"/>
          <p:cNvGrpSpPr/>
          <p:nvPr/>
        </p:nvGrpSpPr>
        <p:grpSpPr>
          <a:xfrm flipV="1">
            <a:off x="3571227" y="4454766"/>
            <a:ext cx="1342139" cy="975936"/>
            <a:chOff x="13356976" y="23347968"/>
            <a:chExt cx="909092" cy="1421795"/>
          </a:xfrm>
        </p:grpSpPr>
        <p:cxnSp>
          <p:nvCxnSpPr>
            <p:cNvPr id="150" name="Gerade Verbindung mit Pfeil 149"/>
            <p:cNvCxnSpPr/>
            <p:nvPr/>
          </p:nvCxnSpPr>
          <p:spPr bwMode="auto">
            <a:xfrm>
              <a:off x="13356976" y="23347968"/>
              <a:ext cx="909092" cy="1421795"/>
            </a:xfrm>
            <a:prstGeom prst="straightConnector1">
              <a:avLst/>
            </a:prstGeom>
            <a:noFill/>
            <a:ln w="571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1" name="Gerade Verbindung mit Pfeil 150"/>
            <p:cNvCxnSpPr/>
            <p:nvPr/>
          </p:nvCxnSpPr>
          <p:spPr bwMode="auto">
            <a:xfrm>
              <a:off x="13356976" y="23347968"/>
              <a:ext cx="909092" cy="1421795"/>
            </a:xfrm>
            <a:prstGeom prst="straightConnector1">
              <a:avLst/>
            </a:prstGeom>
            <a:noFill/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52" name="Gruppieren 151"/>
          <p:cNvGrpSpPr/>
          <p:nvPr/>
        </p:nvGrpSpPr>
        <p:grpSpPr>
          <a:xfrm flipV="1">
            <a:off x="3357323" y="3829489"/>
            <a:ext cx="1342139" cy="975936"/>
            <a:chOff x="13356976" y="23347968"/>
            <a:chExt cx="909092" cy="1421795"/>
          </a:xfrm>
        </p:grpSpPr>
        <p:cxnSp>
          <p:nvCxnSpPr>
            <p:cNvPr id="153" name="Gerade Verbindung mit Pfeil 152"/>
            <p:cNvCxnSpPr/>
            <p:nvPr/>
          </p:nvCxnSpPr>
          <p:spPr bwMode="auto">
            <a:xfrm>
              <a:off x="13356976" y="23347968"/>
              <a:ext cx="909092" cy="1421795"/>
            </a:xfrm>
            <a:prstGeom prst="straightConnector1">
              <a:avLst/>
            </a:prstGeom>
            <a:noFill/>
            <a:ln w="571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4" name="Gerade Verbindung mit Pfeil 153"/>
            <p:cNvCxnSpPr/>
            <p:nvPr/>
          </p:nvCxnSpPr>
          <p:spPr bwMode="auto">
            <a:xfrm>
              <a:off x="13356976" y="23347968"/>
              <a:ext cx="909092" cy="1421795"/>
            </a:xfrm>
            <a:prstGeom prst="straightConnector1">
              <a:avLst/>
            </a:prstGeom>
            <a:noFill/>
            <a:ln w="381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B1435C26-12D9-4222-92CF-81883070E69C}"/>
              </a:ext>
            </a:extLst>
          </p:cNvPr>
          <p:cNvSpPr/>
          <p:nvPr/>
        </p:nvSpPr>
        <p:spPr>
          <a:xfrm>
            <a:off x="7202684" y="3576929"/>
            <a:ext cx="377026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dirty="0"/>
              <a:t>Anvil</a:t>
            </a:r>
          </a:p>
        </p:txBody>
      </p:sp>
      <p:cxnSp>
        <p:nvCxnSpPr>
          <p:cNvPr id="147" name="Gerade Verbindung mit Pfeil 146">
            <a:extLst>
              <a:ext uri="{FF2B5EF4-FFF2-40B4-BE49-F238E27FC236}">
                <a16:creationId xmlns:a16="http://schemas.microsoft.com/office/drawing/2014/main" id="{A0C52CB9-AEFD-42BF-AFE2-9BFE9E4073D6}"/>
              </a:ext>
            </a:extLst>
          </p:cNvPr>
          <p:cNvCxnSpPr/>
          <p:nvPr/>
        </p:nvCxnSpPr>
        <p:spPr bwMode="auto">
          <a:xfrm flipH="1">
            <a:off x="6978069" y="3685650"/>
            <a:ext cx="292424" cy="60521"/>
          </a:xfrm>
          <a:prstGeom prst="straightConnector1">
            <a:avLst/>
          </a:prstGeom>
          <a:noFill/>
          <a:ln w="34925" cap="flat" cmpd="sng" algn="ctr">
            <a:solidFill>
              <a:schemeClr val="bg1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06F0B326-F0B3-424C-9E69-549EE1C3A69D}"/>
              </a:ext>
            </a:extLst>
          </p:cNvPr>
          <p:cNvCxnSpPr/>
          <p:nvPr/>
        </p:nvCxnSpPr>
        <p:spPr bwMode="auto">
          <a:xfrm flipH="1">
            <a:off x="6978069" y="3685896"/>
            <a:ext cx="292424" cy="60521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290755C0-8A1C-4F18-9324-C3CB77A8D4CE}"/>
              </a:ext>
            </a:extLst>
          </p:cNvPr>
          <p:cNvSpPr/>
          <p:nvPr/>
        </p:nvSpPr>
        <p:spPr>
          <a:xfrm>
            <a:off x="4159762" y="6026453"/>
            <a:ext cx="492967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/>
              <a:t>Anvil</a:t>
            </a:r>
          </a:p>
        </p:txBody>
      </p:sp>
      <p:grpSp>
        <p:nvGrpSpPr>
          <p:cNvPr id="159" name="Gruppieren 158">
            <a:extLst>
              <a:ext uri="{FF2B5EF4-FFF2-40B4-BE49-F238E27FC236}">
                <a16:creationId xmlns:a16="http://schemas.microsoft.com/office/drawing/2014/main" id="{8957EC2D-44A1-4038-9355-0445AC3AB2D5}"/>
              </a:ext>
            </a:extLst>
          </p:cNvPr>
          <p:cNvGrpSpPr/>
          <p:nvPr/>
        </p:nvGrpSpPr>
        <p:grpSpPr>
          <a:xfrm flipH="1" flipV="1">
            <a:off x="4370943" y="5543455"/>
            <a:ext cx="55964" cy="499212"/>
            <a:chOff x="3910907" y="2019152"/>
            <a:chExt cx="49025" cy="766032"/>
          </a:xfrm>
        </p:grpSpPr>
        <p:cxnSp>
          <p:nvCxnSpPr>
            <p:cNvPr id="160" name="Gerade Verbindung mit Pfeil 159">
              <a:extLst>
                <a:ext uri="{FF2B5EF4-FFF2-40B4-BE49-F238E27FC236}">
                  <a16:creationId xmlns:a16="http://schemas.microsoft.com/office/drawing/2014/main" id="{4CD73C8D-A6AE-4A16-A690-E8547373A22C}"/>
                </a:ext>
              </a:extLst>
            </p:cNvPr>
            <p:cNvCxnSpPr/>
            <p:nvPr/>
          </p:nvCxnSpPr>
          <p:spPr bwMode="auto">
            <a:xfrm flipH="1">
              <a:off x="3910908" y="2019152"/>
              <a:ext cx="49024" cy="766032"/>
            </a:xfrm>
            <a:prstGeom prst="straightConnector1">
              <a:avLst/>
            </a:prstGeom>
            <a:noFill/>
            <a:ln w="349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1" name="Gerade Verbindung mit Pfeil 160">
              <a:extLst>
                <a:ext uri="{FF2B5EF4-FFF2-40B4-BE49-F238E27FC236}">
                  <a16:creationId xmlns:a16="http://schemas.microsoft.com/office/drawing/2014/main" id="{34563D03-5B47-4A85-A218-CF94E618A75D}"/>
                </a:ext>
              </a:extLst>
            </p:cNvPr>
            <p:cNvCxnSpPr/>
            <p:nvPr/>
          </p:nvCxnSpPr>
          <p:spPr bwMode="auto">
            <a:xfrm flipH="1">
              <a:off x="3910907" y="2019152"/>
              <a:ext cx="49024" cy="766032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2" name="Textfeld 161">
            <a:extLst>
              <a:ext uri="{FF2B5EF4-FFF2-40B4-BE49-F238E27FC236}">
                <a16:creationId xmlns:a16="http://schemas.microsoft.com/office/drawing/2014/main" id="{5B332DF5-BAF2-4B8B-9AA3-12AC86C30BFC}"/>
              </a:ext>
            </a:extLst>
          </p:cNvPr>
          <p:cNvSpPr txBox="1"/>
          <p:nvPr/>
        </p:nvSpPr>
        <p:spPr>
          <a:xfrm>
            <a:off x="7302314" y="4798780"/>
            <a:ext cx="591996" cy="1531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700" dirty="0"/>
              <a:t>Switch on/off control voltage</a:t>
            </a:r>
          </a:p>
        </p:txBody>
      </p:sp>
      <p:grpSp>
        <p:nvGrpSpPr>
          <p:cNvPr id="163" name="Gruppieren 162">
            <a:extLst>
              <a:ext uri="{FF2B5EF4-FFF2-40B4-BE49-F238E27FC236}">
                <a16:creationId xmlns:a16="http://schemas.microsoft.com/office/drawing/2014/main" id="{603AB9E5-2B72-49D7-84D1-071BEDA1048E}"/>
              </a:ext>
            </a:extLst>
          </p:cNvPr>
          <p:cNvGrpSpPr/>
          <p:nvPr/>
        </p:nvGrpSpPr>
        <p:grpSpPr>
          <a:xfrm>
            <a:off x="7028802" y="4836241"/>
            <a:ext cx="263021" cy="45905"/>
            <a:chOff x="7438293" y="4302833"/>
            <a:chExt cx="263021" cy="45905"/>
          </a:xfrm>
        </p:grpSpPr>
        <p:cxnSp>
          <p:nvCxnSpPr>
            <p:cNvPr id="164" name="Gerade Verbindung mit Pfeil 163">
              <a:extLst>
                <a:ext uri="{FF2B5EF4-FFF2-40B4-BE49-F238E27FC236}">
                  <a16:creationId xmlns:a16="http://schemas.microsoft.com/office/drawing/2014/main" id="{FB1E0424-2AC9-493B-86B0-3024C5F743DA}"/>
                </a:ext>
              </a:extLst>
            </p:cNvPr>
            <p:cNvCxnSpPr/>
            <p:nvPr/>
          </p:nvCxnSpPr>
          <p:spPr bwMode="auto">
            <a:xfrm flipH="1" flipV="1">
              <a:off x="7438293" y="4303019"/>
              <a:ext cx="263021" cy="45719"/>
            </a:xfrm>
            <a:prstGeom prst="straightConnector1">
              <a:avLst/>
            </a:prstGeom>
            <a:noFill/>
            <a:ln w="349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oval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5" name="Gerade Verbindung mit Pfeil 164">
              <a:extLst>
                <a:ext uri="{FF2B5EF4-FFF2-40B4-BE49-F238E27FC236}">
                  <a16:creationId xmlns:a16="http://schemas.microsoft.com/office/drawing/2014/main" id="{BE0D9837-2D6C-495A-B3F0-D517D0A61597}"/>
                </a:ext>
              </a:extLst>
            </p:cNvPr>
            <p:cNvCxnSpPr/>
            <p:nvPr/>
          </p:nvCxnSpPr>
          <p:spPr bwMode="auto">
            <a:xfrm flipH="1" flipV="1">
              <a:off x="7438293" y="4302833"/>
              <a:ext cx="263021" cy="45719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oval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5050CFF-BD1D-1E09-E33A-F9323E1393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B496E06-34B1-4C14-BAE3-233C018F8445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2D99D2C-F8DE-3EF4-4CE7-4A4150289E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FB52FFC-3C5D-9B80-3008-17C7646C4D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3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3649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ble of Contents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440D31C-18F7-EEB9-FE43-2E7D092AD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F728B4B-D768-440F-B9D0-B74BD8129EE4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3690AC3-7F39-D76D-F024-67F1BAA7F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50CF9B1-17C7-8F1F-7569-452F15E1C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3E2F4BB-1DAE-FE1F-1F9E-37B128FF6555}"/>
              </a:ext>
            </a:extLst>
          </p:cNvPr>
          <p:cNvSpPr txBox="1"/>
          <p:nvPr/>
        </p:nvSpPr>
        <p:spPr>
          <a:xfrm>
            <a:off x="1199456" y="1124744"/>
            <a:ext cx="5184576" cy="511256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Motivation and objectives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Fundamentals of Electric Motor Manufacture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Slot-Liner Function and Importance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Insertion of Slot Liners in Large Scale Manufacture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Insertion of Slot Liners in Small Scale manufacture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Proposed Automation Plan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Hardware Setup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Parametric Tool Development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Insertion Pipeline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Testing and Validation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600" dirty="0"/>
              <a:t>Conclusion and Outlook</a:t>
            </a:r>
          </a:p>
          <a:p>
            <a:pPr>
              <a:buClr>
                <a:schemeClr val="tx1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5742273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6C7770-080B-1695-82D3-0757EAC82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661480-31C5-F83D-991E-3490AB9B3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6247087-763E-63F2-9432-EEAA6EC57A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:  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3A7ADA-7FEE-FEF5-62D7-84F8ED64E6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Bearbeiter:In   |   Präsentationsanlass, Kunde, Kooperationspartner, Vorlesu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25FD0C-057B-F2AD-1838-074D8FA1FF30}"/>
              </a:ext>
            </a:extLst>
          </p:cNvPr>
          <p:cNvSpPr txBox="1"/>
          <p:nvPr/>
        </p:nvSpPr>
        <p:spPr>
          <a:xfrm>
            <a:off x="1070145" y="744385"/>
            <a:ext cx="6408712" cy="46805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endParaRPr lang="en-US" sz="1600" b="1" dirty="0"/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dirty="0"/>
              <a:t>Climate change &amp; CO₂ emissions </a:t>
            </a:r>
            <a:r>
              <a:rPr lang="en-IN" dirty="0">
                <a:sym typeface="Wingdings" panose="05000000000000000000" pitchFamily="2" charset="2"/>
              </a:rPr>
              <a:t></a:t>
            </a:r>
            <a:r>
              <a:rPr lang="en-IN" dirty="0"/>
              <a:t> need for sustainable technologie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dirty="0"/>
              <a:t>Transport sector accounts for about 23% of  global CO2 emission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dirty="0"/>
              <a:t>Electrification trend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rapid growth of EVs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surge in electric motor demand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dirty="0"/>
              <a:t>Large-scale production: highly automated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dirty="0"/>
              <a:t>Small-scale/custom production: still manual, especially slot liner insertion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dirty="0"/>
              <a:t>Manual process = time-consuming, inconsistent, costly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A3C4E4A-89D9-AE3C-D664-190C6BB7B6BD}"/>
              </a:ext>
            </a:extLst>
          </p:cNvPr>
          <p:cNvGrpSpPr/>
          <p:nvPr/>
        </p:nvGrpSpPr>
        <p:grpSpPr>
          <a:xfrm>
            <a:off x="2352330" y="3100137"/>
            <a:ext cx="7632102" cy="3188042"/>
            <a:chOff x="1652240" y="3284984"/>
            <a:chExt cx="7278116" cy="2936014"/>
          </a:xfrm>
        </p:grpSpPr>
        <p:pic>
          <p:nvPicPr>
            <p:cNvPr id="10" name="Picture 9" descr="A graph with different colored bars&#10;&#10;AI-generated content may be incorrect.">
              <a:extLst>
                <a:ext uri="{FF2B5EF4-FFF2-40B4-BE49-F238E27FC236}">
                  <a16:creationId xmlns:a16="http://schemas.microsoft.com/office/drawing/2014/main" id="{BABD4FC9-6792-3316-A332-0DB5BEFA6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652240" y="3284984"/>
              <a:ext cx="7278116" cy="2592288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EF0EC1D-6F07-B796-F2D1-56BA9DEBC595}"/>
                </a:ext>
              </a:extLst>
            </p:cNvPr>
            <p:cNvSpPr txBox="1"/>
            <p:nvPr/>
          </p:nvSpPr>
          <p:spPr>
            <a:xfrm>
              <a:off x="4033812" y="5912696"/>
              <a:ext cx="4896544" cy="30830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Fig 1: Global EV sales [1]</a:t>
              </a:r>
              <a:endParaRPr lang="en-IN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350692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ECBB6B-F1E4-5215-A92B-26B0B3B61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A4BEC2C-3FC8-EEA3-16CA-AF7E26B2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808C310-DE11-6BD4-BF98-03E4BE130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: Develop a flexible insertion tool to automate slot-liner insertion in small-scale stator manufacturing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D3D805-7218-3613-78DD-CBDACB2828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6C39B349-696D-2817-90D2-AA0E9951F1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90845964"/>
              </p:ext>
            </p:extLst>
          </p:nvPr>
        </p:nvGraphicFramePr>
        <p:xfrm>
          <a:off x="1991544" y="814098"/>
          <a:ext cx="8312472" cy="55896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559635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83BBE27-07F2-B2B2-4946-8161A65092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210EDE-46E6-2043-8A59-A08060FD7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D24A43-3E90-629B-149B-2673FDE7E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of Motor Manufacturing Process: From Lamination Stack to finished Stator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3F9620-FDD5-2D5F-6E4C-AFE8699621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10" name="Picture 9" descr="A diagram of a welding machine&#10;&#10;AI-generated content may be incorrect.">
            <a:extLst>
              <a:ext uri="{FF2B5EF4-FFF2-40B4-BE49-F238E27FC236}">
                <a16:creationId xmlns:a16="http://schemas.microsoft.com/office/drawing/2014/main" id="{079FCCB5-C3FE-F33C-EC22-3B5F7DD445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1744" y="2996952"/>
            <a:ext cx="3816424" cy="2894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936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7CC495-349C-7E5E-BF26-6E582C82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2988B38-0254-D54A-CD4D-E38ED1316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66A6A9-89CF-6713-82FF-5EE675F745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834EA2-535C-3D77-B190-585D56A091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7" name="Picture 6" descr="A diagram of a diagram of electrical components&#10;&#10;AI-generated content may be incorrect.">
            <a:extLst>
              <a:ext uri="{FF2B5EF4-FFF2-40B4-BE49-F238E27FC236}">
                <a16:creationId xmlns:a16="http://schemas.microsoft.com/office/drawing/2014/main" id="{55D83C4C-25B6-F238-70CF-D8A4D7842E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7156" y="1043701"/>
            <a:ext cx="5517687" cy="5310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931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718332-DA3D-069B-A878-735A0852D6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E79860-FEFA-E546-4FCD-3F529DA973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CCC174-7DFF-6843-F3A2-228FB6220D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ot Liner Function and Importance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ACA385-3B25-26DF-91BD-6CBCFED454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9BCDE7-C772-8A8E-9492-04957F5AC3A5}"/>
              </a:ext>
            </a:extLst>
          </p:cNvPr>
          <p:cNvSpPr txBox="1"/>
          <p:nvPr/>
        </p:nvSpPr>
        <p:spPr>
          <a:xfrm>
            <a:off x="911424" y="1196752"/>
            <a:ext cx="6696744" cy="46085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Electrical Insulation</a:t>
            </a:r>
            <a:r>
              <a:rPr lang="en-US" sz="1600" dirty="0"/>
              <a:t> – Prevents short circuits between windings and stator core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Thermal Management</a:t>
            </a:r>
            <a:r>
              <a:rPr lang="en-US" sz="1600" dirty="0"/>
              <a:t> – Supports heat dissipation from windings to the core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Material Selection</a:t>
            </a:r>
            <a:r>
              <a:rPr lang="en-US" sz="1600" dirty="0"/>
              <a:t> – Must balance high dielectric strength with sufficient thermal conductivity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Precision Requirement</a:t>
            </a:r>
            <a:r>
              <a:rPr lang="en-US" sz="1600" dirty="0"/>
              <a:t> – Manual insertion is error-prone and inconsistent, making automation essential</a:t>
            </a:r>
            <a:r>
              <a:rPr lang="en-US" dirty="0"/>
              <a:t>.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853693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680833C-8E8A-725A-AF81-F7D919392F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6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452A6F-F478-85A1-7C38-EC3F062435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55A9350-6B8B-F324-FB1D-57187EA47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ot-Liner Insertion In Large Scale Manufacture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920F9A-A1D1-6FE3-FFB0-1D78441FA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F0675B-06F3-1B3D-8DC6-E84D7C89B858}"/>
              </a:ext>
            </a:extLst>
          </p:cNvPr>
          <p:cNvSpPr txBox="1"/>
          <p:nvPr/>
        </p:nvSpPr>
        <p:spPr>
          <a:xfrm>
            <a:off x="983432" y="1340768"/>
            <a:ext cx="9649072" cy="46085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Fully Automated Machines</a:t>
            </a:r>
            <a:r>
              <a:rPr lang="en-US" sz="1600" dirty="0"/>
              <a:t> – e.g., ELMOTEC STATOMAT, NIDE, GMW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Process</a:t>
            </a:r>
            <a:r>
              <a:rPr lang="en-US" sz="1600" dirty="0"/>
              <a:t> – Creasing, folding, cutting, and inserting slot liners with high precision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Performance</a:t>
            </a:r>
            <a:r>
              <a:rPr lang="en-US" sz="1600" dirty="0"/>
              <a:t> – High speed (up to 3 sleeves/sec) and consistent quality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Advanced Features</a:t>
            </a:r>
            <a:r>
              <a:rPr lang="en-US" sz="1600" dirty="0"/>
              <a:t> – Servo-driven feeding, programmable interfaces, robotic loading/unloading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Advantages</a:t>
            </a:r>
            <a:r>
              <a:rPr lang="en-US" sz="1600" dirty="0"/>
              <a:t> – Precision, repeatability, durability, minimal user effort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Limitation</a:t>
            </a:r>
            <a:r>
              <a:rPr lang="en-US" sz="1600" dirty="0"/>
              <a:t> – High investment cost, optimized for large batches </a:t>
            </a:r>
            <a:r>
              <a:rPr lang="en-US" sz="1600" dirty="0">
                <a:sym typeface="Wingdings" panose="05000000000000000000" pitchFamily="2" charset="2"/>
              </a:rPr>
              <a:t> </a:t>
            </a:r>
            <a:r>
              <a:rPr lang="en-US" sz="1600" dirty="0"/>
              <a:t>less viable for low-volume, high-variance production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endParaRPr lang="en-IN" sz="1600" dirty="0" err="1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1017931-CF05-452B-A71A-CECD6CF59092}"/>
              </a:ext>
            </a:extLst>
          </p:cNvPr>
          <p:cNvGrpSpPr/>
          <p:nvPr/>
        </p:nvGrpSpPr>
        <p:grpSpPr>
          <a:xfrm>
            <a:off x="4223792" y="3429000"/>
            <a:ext cx="4065270" cy="3024435"/>
            <a:chOff x="0" y="0"/>
            <a:chExt cx="4065270" cy="3342851"/>
          </a:xfrm>
        </p:grpSpPr>
        <p:pic>
          <p:nvPicPr>
            <p:cNvPr id="9" name="Picture 8" descr="A machine on wheels with wheels&#10;&#10;AI-generated content may be incorrect.">
              <a:extLst>
                <a:ext uri="{FF2B5EF4-FFF2-40B4-BE49-F238E27FC236}">
                  <a16:creationId xmlns:a16="http://schemas.microsoft.com/office/drawing/2014/main" id="{2CC06124-147F-8B80-A6FE-FB01855A93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7267" y="0"/>
              <a:ext cx="3289935" cy="2749550"/>
            </a:xfrm>
            <a:prstGeom prst="rect">
              <a:avLst/>
            </a:prstGeom>
          </p:spPr>
        </p:pic>
        <p:sp>
          <p:nvSpPr>
            <p:cNvPr id="10" name="Text Box 1">
              <a:extLst>
                <a:ext uri="{FF2B5EF4-FFF2-40B4-BE49-F238E27FC236}">
                  <a16:creationId xmlns:a16="http://schemas.microsoft.com/office/drawing/2014/main" id="{09D6E839-7345-599B-BB77-237F616A8DDD}"/>
                </a:ext>
              </a:extLst>
            </p:cNvPr>
            <p:cNvSpPr txBox="1"/>
            <p:nvPr/>
          </p:nvSpPr>
          <p:spPr>
            <a:xfrm>
              <a:off x="0" y="2751666"/>
              <a:ext cx="4065270" cy="591185"/>
            </a:xfrm>
            <a:prstGeom prst="rect">
              <a:avLst/>
            </a:prstGeom>
            <a:solidFill>
              <a:prstClr val="white"/>
            </a:solidFill>
            <a:ln>
              <a:noFill/>
            </a:ln>
          </p:spPr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R="180340" algn="just">
                <a:lnSpc>
                  <a:spcPct val="120000"/>
                </a:lnSpc>
                <a:spcBef>
                  <a:spcPts val="1800"/>
                </a:spcBef>
                <a:spcAft>
                  <a:spcPts val="1200"/>
                </a:spcAft>
                <a:buNone/>
              </a:pPr>
              <a:r>
                <a:rPr lang="de-DE" sz="1200" i="1" u="sng">
                  <a:solidFill>
                    <a:srgbClr val="0000FF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Figure </a:t>
              </a:r>
              <a:r>
                <a:rPr lang="de-DE" sz="1200" i="1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‑1: GMW CS-5E Horizontal Slot Cell Inserter [53]</a:t>
              </a:r>
              <a:endParaRPr lang="en-IN" sz="1200" i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66441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8272c5f-d4c3-4ba8-b142-2c71cf223724"/>
</p:tagLst>
</file>

<file path=ppt/theme/theme1.xml><?xml version="1.0" encoding="utf-8"?>
<a:theme xmlns:a="http://schemas.openxmlformats.org/drawingml/2006/main" name="FAPS PPT2022">
  <a:themeElements>
    <a:clrScheme name="FAPS Color 2022">
      <a:dk1>
        <a:srgbClr val="000000"/>
      </a:dk1>
      <a:lt1>
        <a:srgbClr val="FFFFFF"/>
      </a:lt1>
      <a:dk2>
        <a:srgbClr val="6A8A22"/>
      </a:dk2>
      <a:lt2>
        <a:srgbClr val="97C139"/>
      </a:lt2>
      <a:accent1>
        <a:srgbClr val="C5DE89"/>
      </a:accent1>
      <a:accent2>
        <a:srgbClr val="61C086"/>
      </a:accent2>
      <a:accent3>
        <a:srgbClr val="779FB5"/>
      </a:accent3>
      <a:accent4>
        <a:srgbClr val="6C8CC7"/>
      </a:accent4>
      <a:accent5>
        <a:srgbClr val="95A2AB"/>
      </a:accent5>
      <a:accent6>
        <a:srgbClr val="D1D9DE"/>
      </a:accent6>
      <a:hlink>
        <a:srgbClr val="97C139"/>
      </a:hlink>
      <a:folHlink>
        <a:srgbClr val="6A8A22"/>
      </a:folHlink>
    </a:clrScheme>
    <a:fontScheme name="FAPS font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5DE89"/>
        </a:solidFill>
        <a:ln>
          <a:noFill/>
        </a:ln>
      </a:spPr>
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95A2A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buClr>
            <a:srgbClr val="97C139"/>
          </a:buClr>
          <a:defRPr dirty="0" err="1" smtClean="0"/>
        </a:defPPr>
      </a:lstStyle>
    </a:txDef>
  </a:objectDefaults>
  <a:extraClrSchemeLst/>
  <a:custClrLst>
    <a:custClr name="Hausfarbe FAPS-Grün">
      <a:srgbClr val="97C139"/>
    </a:custClr>
    <a:custClr name="Hausfarbe Grün">
      <a:srgbClr val="658D67"/>
    </a:custClr>
    <a:custClr name="Hausfarbe Türkis">
      <a:srgbClr val="34677D"/>
    </a:custClr>
    <a:custClr name="FAU-Blau">
      <a:srgbClr val="04316A"/>
    </a:custClr>
    <a:custClr name="Leer">
      <a:srgbClr val="FFFFFF"/>
    </a:custClr>
    <a:custClr name="Leer">
      <a:srgbClr val="FFFFFF"/>
    </a:custClr>
    <a:custClr name="Leer">
      <a:srgbClr val="FFFFFF"/>
    </a:custClr>
    <a:custClr name="Gelb">
      <a:srgbClr val="FFCB00"/>
    </a:custClr>
    <a:custClr name="Orange">
      <a:srgbClr val="F5821F"/>
    </a:custClr>
    <a:custClr name="Rot">
      <a:srgbClr val="DC1E26"/>
    </a:custClr>
    <a:custClr name="FAPS-Grün dunkel">
      <a:srgbClr val="6A8A22"/>
    </a:custClr>
    <a:custClr name="Grün dunkel">
      <a:srgbClr val="3F5F44"/>
    </a:custClr>
    <a:custClr name="Türkis dunkel">
      <a:srgbClr val="004359"/>
    </a:custClr>
    <a:custClr name="FAU-Blau dunkel">
      <a:srgbClr val="041E42"/>
    </a:custClr>
    <a:custClr name="Leer">
      <a:srgbClr val="FFFFFF"/>
    </a:custClr>
    <a:custClr name="Leer">
      <a:srgbClr val="FFFFFF"/>
    </a:custClr>
    <a:custClr name="Leer">
      <a:srgbClr val="FFFFFF"/>
    </a:custClr>
    <a:custClr name="Grau 1">
      <a:srgbClr val="95A2AB"/>
    </a:custClr>
    <a:custClr name="Grau 2">
      <a:srgbClr val="B0BCC4"/>
    </a:custClr>
    <a:custClr name="Grau 3">
      <a:srgbClr val="D1D9DE"/>
    </a:custClr>
    <a:custClr name="FAPS-Grün hell">
      <a:srgbClr val="C5DE89"/>
    </a:custClr>
    <a:custClr name="Grün hell">
      <a:srgbClr val="61C086"/>
    </a:custClr>
    <a:custClr name="TF Metallic">
      <a:srgbClr val="779FB5"/>
    </a:custClr>
    <a:custClr name="FAU-Blau hell">
      <a:srgbClr val="6C8CC7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blank.potx" id="{720754B2-DF66-42F2-959A-BA51D9482042}" vid="{8800025A-0D59-4170-BD1C-8F5B36C530E0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33</TotalTime>
  <Words>1220</Words>
  <Application>Microsoft Office PowerPoint</Application>
  <PresentationFormat>Widescreen</PresentationFormat>
  <Paragraphs>198</Paragraphs>
  <Slides>23</Slides>
  <Notes>2</Notes>
  <HiddenSlides>2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9" baseType="lpstr">
      <vt:lpstr>Arial</vt:lpstr>
      <vt:lpstr>Calibri</vt:lpstr>
      <vt:lpstr>Cambria Math</vt:lpstr>
      <vt:lpstr>Symbol</vt:lpstr>
      <vt:lpstr>Wingdings</vt:lpstr>
      <vt:lpstr>FAPS PPT2022</vt:lpstr>
      <vt:lpstr>PowerPoint Presentation</vt:lpstr>
      <vt:lpstr>Development of A Parametric Tool for Automated  Slot Insulation Insertion in Small-Scale Electric- Motor Stator Production </vt:lpstr>
      <vt:lpstr>Table of Contents</vt:lpstr>
      <vt:lpstr>Motivation:  </vt:lpstr>
      <vt:lpstr>Objective: Develop a flexible insertion tool to automate slot-liner insertion in small-scale stator manufacturing</vt:lpstr>
      <vt:lpstr>Overview of Motor Manufacturing Process: From Lamination Stack to finished Stator.</vt:lpstr>
      <vt:lpstr>PowerPoint Presentation</vt:lpstr>
      <vt:lpstr>Slot Liner Function and Importance</vt:lpstr>
      <vt:lpstr>Slot-Liner Insertion In Large Scale Manufacture</vt:lpstr>
      <vt:lpstr>Slot-Liner Insertion in Small Scale Manufacture</vt:lpstr>
      <vt:lpstr>Proposed Automation Plan</vt:lpstr>
      <vt:lpstr>Hardware Components for Automated Insertion: UR10e Collaborative Robot, RG2 Gripper, and Force/Torque Sensor</vt:lpstr>
      <vt:lpstr>Mechanical Fixtures for Accurate Positioning of Stator, Slot Liner, and Funnel</vt:lpstr>
      <vt:lpstr>Parametric Tool Development</vt:lpstr>
      <vt:lpstr>Initial Design</vt:lpstr>
      <vt:lpstr>Final Design</vt:lpstr>
      <vt:lpstr>Insertion Pipeline</vt:lpstr>
      <vt:lpstr>Validation</vt:lpstr>
      <vt:lpstr>Testing Results</vt:lpstr>
      <vt:lpstr>Error Rates</vt:lpstr>
      <vt:lpstr>PowerPoint Presentation</vt:lpstr>
      <vt:lpstr>PowerPoint Presentation</vt:lpstr>
      <vt:lpstr>Linien etc</vt:lpstr>
    </vt:vector>
  </TitlesOfParts>
  <Manager>Simon.Froehlig@faps.fau.de;michael.masuch@faps.fau.de</Manager>
  <Company>FAPS / E|Driv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E|Drive</dc:subject>
  <dc:creator>Henrich, Valentin</dc:creator>
  <cp:lastModifiedBy>Sebastian, Alen</cp:lastModifiedBy>
  <cp:revision>11</cp:revision>
  <dcterms:created xsi:type="dcterms:W3CDTF">2025-04-15T08:38:21Z</dcterms:created>
  <dcterms:modified xsi:type="dcterms:W3CDTF">2025-10-06T12:36:05Z</dcterms:modified>
</cp:coreProperties>
</file>